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56" r:id="rId9"/>
    <p:sldId id="264" r:id="rId10"/>
    <p:sldId id="265" r:id="rId11"/>
    <p:sldId id="266" r:id="rId12"/>
    <p:sldId id="270" r:id="rId13"/>
    <p:sldId id="271" r:id="rId14"/>
    <p:sldId id="267" r:id="rId15"/>
    <p:sldId id="268" r:id="rId16"/>
    <p:sldId id="269" r:id="rId17"/>
    <p:sldId id="272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EFE792-CF15-4186-B86E-80EF69F8AF20}" type="doc">
      <dgm:prSet loTypeId="urn:microsoft.com/office/officeart/2005/8/layout/chevron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N"/>
        </a:p>
      </dgm:t>
    </dgm:pt>
    <dgm:pt modelId="{555797E4-5AA6-407B-B207-60C82C171034}">
      <dgm:prSet phldrT="[Text]"/>
      <dgm:spPr/>
      <dgm:t>
        <a:bodyPr/>
        <a:lstStyle/>
        <a:p>
          <a:endParaRPr lang="en-IN" dirty="0">
            <a:solidFill>
              <a:schemeClr val="accent2"/>
            </a:solidFill>
          </a:endParaRPr>
        </a:p>
      </dgm:t>
    </dgm:pt>
    <dgm:pt modelId="{CF78ED5B-FF24-40F7-B7B5-EE04FB59C304}" type="parTrans" cxnId="{69903BA3-58BD-49A8-B8AE-59727DB2CFD2}">
      <dgm:prSet/>
      <dgm:spPr/>
      <dgm:t>
        <a:bodyPr/>
        <a:lstStyle/>
        <a:p>
          <a:endParaRPr lang="en-IN"/>
        </a:p>
      </dgm:t>
    </dgm:pt>
    <dgm:pt modelId="{5506E036-C9C8-4304-84BB-9BBA2189D861}" type="sibTrans" cxnId="{69903BA3-58BD-49A8-B8AE-59727DB2CFD2}">
      <dgm:prSet/>
      <dgm:spPr/>
      <dgm:t>
        <a:bodyPr/>
        <a:lstStyle/>
        <a:p>
          <a:endParaRPr lang="en-IN"/>
        </a:p>
      </dgm:t>
    </dgm:pt>
    <dgm:pt modelId="{AFAA174B-708E-4AA2-B743-08233B7C5DEA}">
      <dgm:prSet phldrT="[Text]"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dirty="0"/>
            <a:t>   Procurement of required parts for project</a:t>
          </a:r>
          <a:endParaRPr lang="en-IN" dirty="0"/>
        </a:p>
      </dgm:t>
    </dgm:pt>
    <dgm:pt modelId="{6096D44E-41DE-44DD-9BC0-AF31D8EA6D78}" type="parTrans" cxnId="{D6CDAA6F-FAB0-464F-88E5-DC98D0A954E9}">
      <dgm:prSet/>
      <dgm:spPr/>
      <dgm:t>
        <a:bodyPr/>
        <a:lstStyle/>
        <a:p>
          <a:endParaRPr lang="en-IN"/>
        </a:p>
      </dgm:t>
    </dgm:pt>
    <dgm:pt modelId="{8D8B1BD7-E751-4527-9887-B72C8EE7CF2F}" type="sibTrans" cxnId="{D6CDAA6F-FAB0-464F-88E5-DC98D0A954E9}">
      <dgm:prSet/>
      <dgm:spPr/>
      <dgm:t>
        <a:bodyPr/>
        <a:lstStyle/>
        <a:p>
          <a:endParaRPr lang="en-IN"/>
        </a:p>
      </dgm:t>
    </dgm:pt>
    <dgm:pt modelId="{119EE151-442F-4457-960B-1F0103E57C2D}">
      <dgm:prSet phldrT="[Text]"/>
      <dgm:spPr/>
      <dgm:t>
        <a:bodyPr/>
        <a:lstStyle/>
        <a:p>
          <a:endParaRPr lang="en-IN" dirty="0">
            <a:ln>
              <a:solidFill>
                <a:srgbClr val="00B050"/>
              </a:solidFill>
            </a:ln>
          </a:endParaRPr>
        </a:p>
      </dgm:t>
    </dgm:pt>
    <dgm:pt modelId="{4EB59108-8A08-44B1-89F7-30CE25C0C17A}" type="parTrans" cxnId="{187A43B1-C1A6-4B6E-9D3A-AEF55DBA4AD7}">
      <dgm:prSet/>
      <dgm:spPr/>
      <dgm:t>
        <a:bodyPr/>
        <a:lstStyle/>
        <a:p>
          <a:endParaRPr lang="en-IN"/>
        </a:p>
      </dgm:t>
    </dgm:pt>
    <dgm:pt modelId="{99266BCB-8785-4D0D-9334-5937D9917B46}" type="sibTrans" cxnId="{187A43B1-C1A6-4B6E-9D3A-AEF55DBA4AD7}">
      <dgm:prSet/>
      <dgm:spPr/>
      <dgm:t>
        <a:bodyPr/>
        <a:lstStyle/>
        <a:p>
          <a:endParaRPr lang="en-IN"/>
        </a:p>
      </dgm:t>
    </dgm:pt>
    <dgm:pt modelId="{97014ECB-03C2-499F-8D70-634367876656}">
      <dgm:prSet phldrT="[Text]"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dirty="0"/>
            <a:t>   Preparation of assembly drawing &amp; part drawings.</a:t>
          </a:r>
          <a:endParaRPr lang="en-IN" dirty="0"/>
        </a:p>
      </dgm:t>
    </dgm:pt>
    <dgm:pt modelId="{4249F3DD-B3C7-4619-99E2-EE79377B6C57}" type="parTrans" cxnId="{E77FBC42-4973-4787-9AC9-1D95C78C2509}">
      <dgm:prSet/>
      <dgm:spPr/>
      <dgm:t>
        <a:bodyPr/>
        <a:lstStyle/>
        <a:p>
          <a:endParaRPr lang="en-IN"/>
        </a:p>
      </dgm:t>
    </dgm:pt>
    <dgm:pt modelId="{A0AD0EB7-BC53-4BF9-96CE-C14DBC104452}" type="sibTrans" cxnId="{E77FBC42-4973-4787-9AC9-1D95C78C2509}">
      <dgm:prSet/>
      <dgm:spPr/>
      <dgm:t>
        <a:bodyPr/>
        <a:lstStyle/>
        <a:p>
          <a:endParaRPr lang="en-IN"/>
        </a:p>
      </dgm:t>
    </dgm:pt>
    <dgm:pt modelId="{87D32CDA-018D-4DCE-B838-3574F3ED5A72}">
      <dgm:prSet phldrT="[Text]"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dirty="0"/>
            <a:t>  Printing of main pen holder part &amp; support brackets.</a:t>
          </a:r>
          <a:endParaRPr lang="en-IN" dirty="0"/>
        </a:p>
      </dgm:t>
    </dgm:pt>
    <dgm:pt modelId="{D0E583B9-E88D-4123-A10C-B47F382ABF85}" type="parTrans" cxnId="{E45F9BC6-46F7-455C-957B-1F90B324BCBE}">
      <dgm:prSet/>
      <dgm:spPr/>
      <dgm:t>
        <a:bodyPr/>
        <a:lstStyle/>
        <a:p>
          <a:endParaRPr lang="en-IN"/>
        </a:p>
      </dgm:t>
    </dgm:pt>
    <dgm:pt modelId="{7EA7170A-869D-43DB-AA18-54631E1597D0}" type="sibTrans" cxnId="{E45F9BC6-46F7-455C-957B-1F90B324BCBE}">
      <dgm:prSet/>
      <dgm:spPr/>
      <dgm:t>
        <a:bodyPr/>
        <a:lstStyle/>
        <a:p>
          <a:endParaRPr lang="en-IN"/>
        </a:p>
      </dgm:t>
    </dgm:pt>
    <dgm:pt modelId="{12EDADF6-857E-4297-9BCB-9270C6F38D45}">
      <dgm:prSet phldrT="[Text]"/>
      <dgm:spPr/>
      <dgm:t>
        <a:bodyPr/>
        <a:lstStyle/>
        <a:p>
          <a:pPr>
            <a:buFont typeface="Wingdings" panose="05000000000000000000" pitchFamily="2" charset="2"/>
            <a:buChar char="Ø"/>
          </a:pPr>
          <a:endParaRPr lang="en-IN" dirty="0"/>
        </a:p>
      </dgm:t>
    </dgm:pt>
    <dgm:pt modelId="{EFCD1B4B-26DC-494E-B466-E7D921CDC25B}" type="parTrans" cxnId="{2CDA02BD-D853-4A06-A9C5-8D9C701B5ACF}">
      <dgm:prSet/>
      <dgm:spPr/>
      <dgm:t>
        <a:bodyPr/>
        <a:lstStyle/>
        <a:p>
          <a:endParaRPr lang="en-IN"/>
        </a:p>
      </dgm:t>
    </dgm:pt>
    <dgm:pt modelId="{DAF950A6-F101-434E-90F9-2B6EB989C03B}" type="sibTrans" cxnId="{2CDA02BD-D853-4A06-A9C5-8D9C701B5ACF}">
      <dgm:prSet/>
      <dgm:spPr/>
      <dgm:t>
        <a:bodyPr/>
        <a:lstStyle/>
        <a:p>
          <a:endParaRPr lang="en-IN"/>
        </a:p>
      </dgm:t>
    </dgm:pt>
    <dgm:pt modelId="{9954CEBE-06B5-4F5C-A0CE-250C303B225D}">
      <dgm:prSet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dirty="0"/>
            <a:t>  Assembly of the all parts on board.</a:t>
          </a:r>
          <a:endParaRPr lang="en-IN" dirty="0"/>
        </a:p>
      </dgm:t>
    </dgm:pt>
    <dgm:pt modelId="{57D2044B-2C45-45F7-A0D8-BF49C40145AA}" type="parTrans" cxnId="{9DE81B98-2503-4FD2-8340-B6AA9010576F}">
      <dgm:prSet/>
      <dgm:spPr/>
      <dgm:t>
        <a:bodyPr/>
        <a:lstStyle/>
        <a:p>
          <a:endParaRPr lang="en-IN"/>
        </a:p>
      </dgm:t>
    </dgm:pt>
    <dgm:pt modelId="{BCF1A580-FB6E-4D70-97F8-9E9B117BB1A4}" type="sibTrans" cxnId="{9DE81B98-2503-4FD2-8340-B6AA9010576F}">
      <dgm:prSet/>
      <dgm:spPr/>
      <dgm:t>
        <a:bodyPr/>
        <a:lstStyle/>
        <a:p>
          <a:endParaRPr lang="en-IN"/>
        </a:p>
      </dgm:t>
    </dgm:pt>
    <dgm:pt modelId="{225A5501-5071-4C13-869B-71FE8E26F760}">
      <dgm:prSet/>
      <dgm:spPr/>
      <dgm:t>
        <a:bodyPr/>
        <a:lstStyle/>
        <a:p>
          <a:pPr>
            <a:buFont typeface="Wingdings" panose="05000000000000000000" pitchFamily="2" charset="2"/>
            <a:buChar char="Ø"/>
          </a:pPr>
          <a:endParaRPr lang="en-IN" dirty="0"/>
        </a:p>
      </dgm:t>
    </dgm:pt>
    <dgm:pt modelId="{66DF6B8F-F780-4DCE-ABFD-0A6D9E1A2239}" type="parTrans" cxnId="{0AFAC45C-2B7A-423F-A133-80757C8615C5}">
      <dgm:prSet/>
      <dgm:spPr/>
      <dgm:t>
        <a:bodyPr/>
        <a:lstStyle/>
        <a:p>
          <a:endParaRPr lang="en-IN"/>
        </a:p>
      </dgm:t>
    </dgm:pt>
    <dgm:pt modelId="{4840182B-E7AF-4070-AAC1-0655A128C337}" type="sibTrans" cxnId="{0AFAC45C-2B7A-423F-A133-80757C8615C5}">
      <dgm:prSet/>
      <dgm:spPr/>
      <dgm:t>
        <a:bodyPr/>
        <a:lstStyle/>
        <a:p>
          <a:endParaRPr lang="en-IN"/>
        </a:p>
      </dgm:t>
    </dgm:pt>
    <dgm:pt modelId="{3E625BBD-4BF7-4736-8D4D-FC19E90C52B2}">
      <dgm:prSet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dirty="0"/>
            <a:t>  Connections &amp; source code, software installation.</a:t>
          </a:r>
          <a:endParaRPr lang="en-IN" dirty="0"/>
        </a:p>
      </dgm:t>
    </dgm:pt>
    <dgm:pt modelId="{1C3ADB68-9819-4B12-81DC-8EBC1569F70C}" type="parTrans" cxnId="{AC05E5C5-38F2-4BFD-8147-ABEF3F7CEFC2}">
      <dgm:prSet/>
      <dgm:spPr/>
      <dgm:t>
        <a:bodyPr/>
        <a:lstStyle/>
        <a:p>
          <a:endParaRPr lang="en-IN"/>
        </a:p>
      </dgm:t>
    </dgm:pt>
    <dgm:pt modelId="{4A717EB5-12BB-437E-88D1-DFC2B93BAB51}" type="sibTrans" cxnId="{AC05E5C5-38F2-4BFD-8147-ABEF3F7CEFC2}">
      <dgm:prSet/>
      <dgm:spPr/>
      <dgm:t>
        <a:bodyPr/>
        <a:lstStyle/>
        <a:p>
          <a:endParaRPr lang="en-IN"/>
        </a:p>
      </dgm:t>
    </dgm:pt>
    <dgm:pt modelId="{DD260486-120E-4B23-BA12-C344E601F378}">
      <dgm:prSet phldrT="[Text]"/>
      <dgm:spPr/>
      <dgm:t>
        <a:bodyPr/>
        <a:lstStyle/>
        <a:p>
          <a:endParaRPr lang="en-IN" dirty="0"/>
        </a:p>
      </dgm:t>
    </dgm:pt>
    <dgm:pt modelId="{DEE03A9A-F34B-4502-AA52-B1FC613B86D0}" type="sibTrans" cxnId="{11186F28-B7D2-436F-82FE-A58F7FBC26D3}">
      <dgm:prSet/>
      <dgm:spPr/>
      <dgm:t>
        <a:bodyPr/>
        <a:lstStyle/>
        <a:p>
          <a:endParaRPr lang="en-IN"/>
        </a:p>
      </dgm:t>
    </dgm:pt>
    <dgm:pt modelId="{C9419F24-7921-461D-8DA6-11D88934487E}" type="parTrans" cxnId="{11186F28-B7D2-436F-82FE-A58F7FBC26D3}">
      <dgm:prSet/>
      <dgm:spPr/>
      <dgm:t>
        <a:bodyPr/>
        <a:lstStyle/>
        <a:p>
          <a:endParaRPr lang="en-IN"/>
        </a:p>
      </dgm:t>
    </dgm:pt>
    <dgm:pt modelId="{BEF14523-3205-4D6F-98BF-3B84C0D094DC}" type="pres">
      <dgm:prSet presAssocID="{C3EFE792-CF15-4186-B86E-80EF69F8AF2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DA062E3-27B3-4AD0-9DF3-FA0E987A52D1}" type="pres">
      <dgm:prSet presAssocID="{555797E4-5AA6-407B-B207-60C82C171034}" presName="composite" presStyleCnt="0"/>
      <dgm:spPr/>
    </dgm:pt>
    <dgm:pt modelId="{CC0264A7-23C6-46EE-BD6E-30CBEA2AFC74}" type="pres">
      <dgm:prSet presAssocID="{555797E4-5AA6-407B-B207-60C82C171034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76E4FE-8F1E-4A86-B9CA-5293BD111840}" type="pres">
      <dgm:prSet presAssocID="{555797E4-5AA6-407B-B207-60C82C171034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68B12B-6270-4175-86DA-24E0E6AE61A7}" type="pres">
      <dgm:prSet presAssocID="{5506E036-C9C8-4304-84BB-9BBA2189D861}" presName="sp" presStyleCnt="0"/>
      <dgm:spPr/>
    </dgm:pt>
    <dgm:pt modelId="{DF5FC487-2A24-47C2-B2CC-84A572E310C7}" type="pres">
      <dgm:prSet presAssocID="{119EE151-442F-4457-960B-1F0103E57C2D}" presName="composite" presStyleCnt="0"/>
      <dgm:spPr/>
    </dgm:pt>
    <dgm:pt modelId="{086CFABE-9B4D-4BE8-9569-8D7353CE8AE6}" type="pres">
      <dgm:prSet presAssocID="{119EE151-442F-4457-960B-1F0103E57C2D}" presName="parentText" presStyleLbl="alignNode1" presStyleIdx="1" presStyleCnt="5" custLinFactNeighborX="0" custLinFactNeighborY="-216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880CA1-B81E-436B-8B40-A896E6C5D777}" type="pres">
      <dgm:prSet presAssocID="{119EE151-442F-4457-960B-1F0103E57C2D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52B38A-79A3-4160-AB45-562E740668EC}" type="pres">
      <dgm:prSet presAssocID="{99266BCB-8785-4D0D-9334-5937D9917B46}" presName="sp" presStyleCnt="0"/>
      <dgm:spPr/>
    </dgm:pt>
    <dgm:pt modelId="{91523F0F-ED26-43DF-A68D-1706661008AD}" type="pres">
      <dgm:prSet presAssocID="{DD260486-120E-4B23-BA12-C344E601F378}" presName="composite" presStyleCnt="0"/>
      <dgm:spPr/>
    </dgm:pt>
    <dgm:pt modelId="{FEC2F66B-5643-49F9-9B70-B173105A5753}" type="pres">
      <dgm:prSet presAssocID="{DD260486-120E-4B23-BA12-C344E601F378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291D70-3B5F-4621-A1F0-E25E77195D9E}" type="pres">
      <dgm:prSet presAssocID="{DD260486-120E-4B23-BA12-C344E601F378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AA8B93-D898-493D-BD91-BD98847B1784}" type="pres">
      <dgm:prSet presAssocID="{DEE03A9A-F34B-4502-AA52-B1FC613B86D0}" presName="sp" presStyleCnt="0"/>
      <dgm:spPr/>
    </dgm:pt>
    <dgm:pt modelId="{8E649D87-87ED-453F-A7FD-106548BA3D1B}" type="pres">
      <dgm:prSet presAssocID="{12EDADF6-857E-4297-9BCB-9270C6F38D45}" presName="composite" presStyleCnt="0"/>
      <dgm:spPr/>
    </dgm:pt>
    <dgm:pt modelId="{43F51AC1-A275-44AE-91DD-0751DA6DE826}" type="pres">
      <dgm:prSet presAssocID="{12EDADF6-857E-4297-9BCB-9270C6F38D4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B392DC-9E07-4D91-BFDF-596B9FE94324}" type="pres">
      <dgm:prSet presAssocID="{12EDADF6-857E-4297-9BCB-9270C6F38D45}" presName="descendantText" presStyleLbl="alignAcc1" presStyleIdx="3" presStyleCnt="5" custLinFactNeighborX="30" custLinFactNeighborY="2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959C9D-E2D0-4ADC-A497-849E66D2A837}" type="pres">
      <dgm:prSet presAssocID="{DAF950A6-F101-434E-90F9-2B6EB989C03B}" presName="sp" presStyleCnt="0"/>
      <dgm:spPr/>
    </dgm:pt>
    <dgm:pt modelId="{5CCB0D46-8B3E-4C76-93CC-2B49EAC18DB3}" type="pres">
      <dgm:prSet presAssocID="{225A5501-5071-4C13-869B-71FE8E26F760}" presName="composite" presStyleCnt="0"/>
      <dgm:spPr/>
    </dgm:pt>
    <dgm:pt modelId="{4B41F63F-AB66-41D0-8786-7F42D7E44593}" type="pres">
      <dgm:prSet presAssocID="{225A5501-5071-4C13-869B-71FE8E26F760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4BAC6-1CFB-440D-8C56-DF181F601D5B}" type="pres">
      <dgm:prSet presAssocID="{225A5501-5071-4C13-869B-71FE8E26F760}" presName="descendantText" presStyleLbl="alignAcc1" presStyleIdx="4" presStyleCnt="5" custLinFactNeighborX="-474" custLinFactNeighborY="34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D031502-74A7-43B3-939C-DECB56EE79FB}" type="presOf" srcId="{119EE151-442F-4457-960B-1F0103E57C2D}" destId="{086CFABE-9B4D-4BE8-9569-8D7353CE8AE6}" srcOrd="0" destOrd="0" presId="urn:microsoft.com/office/officeart/2005/8/layout/chevron2"/>
    <dgm:cxn modelId="{31D5F265-C607-4412-840A-5B211C5DABB0}" type="presOf" srcId="{3E625BBD-4BF7-4736-8D4D-FC19E90C52B2}" destId="{5D94BAC6-1CFB-440D-8C56-DF181F601D5B}" srcOrd="0" destOrd="0" presId="urn:microsoft.com/office/officeart/2005/8/layout/chevron2"/>
    <dgm:cxn modelId="{AE7187EA-F13F-423C-8D92-80544374AEB5}" type="presOf" srcId="{555797E4-5AA6-407B-B207-60C82C171034}" destId="{CC0264A7-23C6-46EE-BD6E-30CBEA2AFC74}" srcOrd="0" destOrd="0" presId="urn:microsoft.com/office/officeart/2005/8/layout/chevron2"/>
    <dgm:cxn modelId="{AE185716-714A-453F-8E66-A86239E239C9}" type="presOf" srcId="{87D32CDA-018D-4DCE-B838-3574F3ED5A72}" destId="{30291D70-3B5F-4621-A1F0-E25E77195D9E}" srcOrd="0" destOrd="0" presId="urn:microsoft.com/office/officeart/2005/8/layout/chevron2"/>
    <dgm:cxn modelId="{11186F28-B7D2-436F-82FE-A58F7FBC26D3}" srcId="{C3EFE792-CF15-4186-B86E-80EF69F8AF20}" destId="{DD260486-120E-4B23-BA12-C344E601F378}" srcOrd="2" destOrd="0" parTransId="{C9419F24-7921-461D-8DA6-11D88934487E}" sibTransId="{DEE03A9A-F34B-4502-AA52-B1FC613B86D0}"/>
    <dgm:cxn modelId="{FEADB3BC-CDD4-4669-8D73-1368E4A487CC}" type="presOf" srcId="{DD260486-120E-4B23-BA12-C344E601F378}" destId="{FEC2F66B-5643-49F9-9B70-B173105A5753}" srcOrd="0" destOrd="0" presId="urn:microsoft.com/office/officeart/2005/8/layout/chevron2"/>
    <dgm:cxn modelId="{2A30B7FF-27E7-4C74-B150-C1EA54B6EF59}" type="presOf" srcId="{12EDADF6-857E-4297-9BCB-9270C6F38D45}" destId="{43F51AC1-A275-44AE-91DD-0751DA6DE826}" srcOrd="0" destOrd="0" presId="urn:microsoft.com/office/officeart/2005/8/layout/chevron2"/>
    <dgm:cxn modelId="{E45F9BC6-46F7-455C-957B-1F90B324BCBE}" srcId="{DD260486-120E-4B23-BA12-C344E601F378}" destId="{87D32CDA-018D-4DCE-B838-3574F3ED5A72}" srcOrd="0" destOrd="0" parTransId="{D0E583B9-E88D-4123-A10C-B47F382ABF85}" sibTransId="{7EA7170A-869D-43DB-AA18-54631E1597D0}"/>
    <dgm:cxn modelId="{E77FBC42-4973-4787-9AC9-1D95C78C2509}" srcId="{119EE151-442F-4457-960B-1F0103E57C2D}" destId="{97014ECB-03C2-499F-8D70-634367876656}" srcOrd="0" destOrd="0" parTransId="{4249F3DD-B3C7-4619-99E2-EE79377B6C57}" sibTransId="{A0AD0EB7-BC53-4BF9-96CE-C14DBC104452}"/>
    <dgm:cxn modelId="{9DE81B98-2503-4FD2-8340-B6AA9010576F}" srcId="{12EDADF6-857E-4297-9BCB-9270C6F38D45}" destId="{9954CEBE-06B5-4F5C-A0CE-250C303B225D}" srcOrd="0" destOrd="0" parTransId="{57D2044B-2C45-45F7-A0D8-BF49C40145AA}" sibTransId="{BCF1A580-FB6E-4D70-97F8-9E9B117BB1A4}"/>
    <dgm:cxn modelId="{69903BA3-58BD-49A8-B8AE-59727DB2CFD2}" srcId="{C3EFE792-CF15-4186-B86E-80EF69F8AF20}" destId="{555797E4-5AA6-407B-B207-60C82C171034}" srcOrd="0" destOrd="0" parTransId="{CF78ED5B-FF24-40F7-B7B5-EE04FB59C304}" sibTransId="{5506E036-C9C8-4304-84BB-9BBA2189D861}"/>
    <dgm:cxn modelId="{187A43B1-C1A6-4B6E-9D3A-AEF55DBA4AD7}" srcId="{C3EFE792-CF15-4186-B86E-80EF69F8AF20}" destId="{119EE151-442F-4457-960B-1F0103E57C2D}" srcOrd="1" destOrd="0" parTransId="{4EB59108-8A08-44B1-89F7-30CE25C0C17A}" sibTransId="{99266BCB-8785-4D0D-9334-5937D9917B46}"/>
    <dgm:cxn modelId="{D6CDAA6F-FAB0-464F-88E5-DC98D0A954E9}" srcId="{555797E4-5AA6-407B-B207-60C82C171034}" destId="{AFAA174B-708E-4AA2-B743-08233B7C5DEA}" srcOrd="0" destOrd="0" parTransId="{6096D44E-41DE-44DD-9BC0-AF31D8EA6D78}" sibTransId="{8D8B1BD7-E751-4527-9887-B72C8EE7CF2F}"/>
    <dgm:cxn modelId="{564F85F6-A264-4A41-9941-43C64425D824}" type="presOf" srcId="{97014ECB-03C2-499F-8D70-634367876656}" destId="{0D880CA1-B81E-436B-8B40-A896E6C5D777}" srcOrd="0" destOrd="0" presId="urn:microsoft.com/office/officeart/2005/8/layout/chevron2"/>
    <dgm:cxn modelId="{0AFAC45C-2B7A-423F-A133-80757C8615C5}" srcId="{C3EFE792-CF15-4186-B86E-80EF69F8AF20}" destId="{225A5501-5071-4C13-869B-71FE8E26F760}" srcOrd="4" destOrd="0" parTransId="{66DF6B8F-F780-4DCE-ABFD-0A6D9E1A2239}" sibTransId="{4840182B-E7AF-4070-AAC1-0655A128C337}"/>
    <dgm:cxn modelId="{09859C22-09BA-4B18-9761-60D95ACC35F7}" type="presOf" srcId="{9954CEBE-06B5-4F5C-A0CE-250C303B225D}" destId="{89B392DC-9E07-4D91-BFDF-596B9FE94324}" srcOrd="0" destOrd="0" presId="urn:microsoft.com/office/officeart/2005/8/layout/chevron2"/>
    <dgm:cxn modelId="{BCB5820A-74F0-4E01-BA19-DF799E546D8A}" type="presOf" srcId="{C3EFE792-CF15-4186-B86E-80EF69F8AF20}" destId="{BEF14523-3205-4D6F-98BF-3B84C0D094DC}" srcOrd="0" destOrd="0" presId="urn:microsoft.com/office/officeart/2005/8/layout/chevron2"/>
    <dgm:cxn modelId="{5603D5A5-81E8-442D-9CE0-21EE7A334124}" type="presOf" srcId="{AFAA174B-708E-4AA2-B743-08233B7C5DEA}" destId="{EA76E4FE-8F1E-4A86-B9CA-5293BD111840}" srcOrd="0" destOrd="0" presId="urn:microsoft.com/office/officeart/2005/8/layout/chevron2"/>
    <dgm:cxn modelId="{7177D473-197B-4717-ADC0-A1CD47735423}" type="presOf" srcId="{225A5501-5071-4C13-869B-71FE8E26F760}" destId="{4B41F63F-AB66-41D0-8786-7F42D7E44593}" srcOrd="0" destOrd="0" presId="urn:microsoft.com/office/officeart/2005/8/layout/chevron2"/>
    <dgm:cxn modelId="{AC05E5C5-38F2-4BFD-8147-ABEF3F7CEFC2}" srcId="{225A5501-5071-4C13-869B-71FE8E26F760}" destId="{3E625BBD-4BF7-4736-8D4D-FC19E90C52B2}" srcOrd="0" destOrd="0" parTransId="{1C3ADB68-9819-4B12-81DC-8EBC1569F70C}" sibTransId="{4A717EB5-12BB-437E-88D1-DFC2B93BAB51}"/>
    <dgm:cxn modelId="{2CDA02BD-D853-4A06-A9C5-8D9C701B5ACF}" srcId="{C3EFE792-CF15-4186-B86E-80EF69F8AF20}" destId="{12EDADF6-857E-4297-9BCB-9270C6F38D45}" srcOrd="3" destOrd="0" parTransId="{EFCD1B4B-26DC-494E-B466-E7D921CDC25B}" sibTransId="{DAF950A6-F101-434E-90F9-2B6EB989C03B}"/>
    <dgm:cxn modelId="{8C2BAF91-ECB4-4F59-B03C-D77688484B36}" type="presParOf" srcId="{BEF14523-3205-4D6F-98BF-3B84C0D094DC}" destId="{4DA062E3-27B3-4AD0-9DF3-FA0E987A52D1}" srcOrd="0" destOrd="0" presId="urn:microsoft.com/office/officeart/2005/8/layout/chevron2"/>
    <dgm:cxn modelId="{B14B5477-9179-468D-BE5F-E2FAA9CBF08E}" type="presParOf" srcId="{4DA062E3-27B3-4AD0-9DF3-FA0E987A52D1}" destId="{CC0264A7-23C6-46EE-BD6E-30CBEA2AFC74}" srcOrd="0" destOrd="0" presId="urn:microsoft.com/office/officeart/2005/8/layout/chevron2"/>
    <dgm:cxn modelId="{BD798D0D-CA7B-4C6C-8F0C-1851255EF010}" type="presParOf" srcId="{4DA062E3-27B3-4AD0-9DF3-FA0E987A52D1}" destId="{EA76E4FE-8F1E-4A86-B9CA-5293BD111840}" srcOrd="1" destOrd="0" presId="urn:microsoft.com/office/officeart/2005/8/layout/chevron2"/>
    <dgm:cxn modelId="{DAECF79D-6C6B-40C2-A5E1-8B7382C99E4D}" type="presParOf" srcId="{BEF14523-3205-4D6F-98BF-3B84C0D094DC}" destId="{0F68B12B-6270-4175-86DA-24E0E6AE61A7}" srcOrd="1" destOrd="0" presId="urn:microsoft.com/office/officeart/2005/8/layout/chevron2"/>
    <dgm:cxn modelId="{4C77DD77-163D-47A7-B7B5-3D6876C666A9}" type="presParOf" srcId="{BEF14523-3205-4D6F-98BF-3B84C0D094DC}" destId="{DF5FC487-2A24-47C2-B2CC-84A572E310C7}" srcOrd="2" destOrd="0" presId="urn:microsoft.com/office/officeart/2005/8/layout/chevron2"/>
    <dgm:cxn modelId="{8E532E05-9055-47D0-A806-58851539FD12}" type="presParOf" srcId="{DF5FC487-2A24-47C2-B2CC-84A572E310C7}" destId="{086CFABE-9B4D-4BE8-9569-8D7353CE8AE6}" srcOrd="0" destOrd="0" presId="urn:microsoft.com/office/officeart/2005/8/layout/chevron2"/>
    <dgm:cxn modelId="{95397C43-C23B-4448-B1A2-F16A2A319C78}" type="presParOf" srcId="{DF5FC487-2A24-47C2-B2CC-84A572E310C7}" destId="{0D880CA1-B81E-436B-8B40-A896E6C5D777}" srcOrd="1" destOrd="0" presId="urn:microsoft.com/office/officeart/2005/8/layout/chevron2"/>
    <dgm:cxn modelId="{D4B64029-8BD5-41C3-8020-F115FABF52C2}" type="presParOf" srcId="{BEF14523-3205-4D6F-98BF-3B84C0D094DC}" destId="{0A52B38A-79A3-4160-AB45-562E740668EC}" srcOrd="3" destOrd="0" presId="urn:microsoft.com/office/officeart/2005/8/layout/chevron2"/>
    <dgm:cxn modelId="{25CB4473-67A3-4D92-8CCB-4348284E59EE}" type="presParOf" srcId="{BEF14523-3205-4D6F-98BF-3B84C0D094DC}" destId="{91523F0F-ED26-43DF-A68D-1706661008AD}" srcOrd="4" destOrd="0" presId="urn:microsoft.com/office/officeart/2005/8/layout/chevron2"/>
    <dgm:cxn modelId="{C6B2BEE8-4006-455F-96E6-52D8EE6BF73B}" type="presParOf" srcId="{91523F0F-ED26-43DF-A68D-1706661008AD}" destId="{FEC2F66B-5643-49F9-9B70-B173105A5753}" srcOrd="0" destOrd="0" presId="urn:microsoft.com/office/officeart/2005/8/layout/chevron2"/>
    <dgm:cxn modelId="{EAC6A4FB-D86E-4A65-A003-67EF191D17C0}" type="presParOf" srcId="{91523F0F-ED26-43DF-A68D-1706661008AD}" destId="{30291D70-3B5F-4621-A1F0-E25E77195D9E}" srcOrd="1" destOrd="0" presId="urn:microsoft.com/office/officeart/2005/8/layout/chevron2"/>
    <dgm:cxn modelId="{53B4763E-096C-4320-B56E-01A1317917C5}" type="presParOf" srcId="{BEF14523-3205-4D6F-98BF-3B84C0D094DC}" destId="{C5AA8B93-D898-493D-BD91-BD98847B1784}" srcOrd="5" destOrd="0" presId="urn:microsoft.com/office/officeart/2005/8/layout/chevron2"/>
    <dgm:cxn modelId="{9F0CB8BF-E80A-460E-B139-A8DA9347B4ED}" type="presParOf" srcId="{BEF14523-3205-4D6F-98BF-3B84C0D094DC}" destId="{8E649D87-87ED-453F-A7FD-106548BA3D1B}" srcOrd="6" destOrd="0" presId="urn:microsoft.com/office/officeart/2005/8/layout/chevron2"/>
    <dgm:cxn modelId="{7217D9CC-E1A2-4C2B-92AD-F88C0BB38111}" type="presParOf" srcId="{8E649D87-87ED-453F-A7FD-106548BA3D1B}" destId="{43F51AC1-A275-44AE-91DD-0751DA6DE826}" srcOrd="0" destOrd="0" presId="urn:microsoft.com/office/officeart/2005/8/layout/chevron2"/>
    <dgm:cxn modelId="{FCFACE97-B283-4E29-8B26-8FF4E75C5802}" type="presParOf" srcId="{8E649D87-87ED-453F-A7FD-106548BA3D1B}" destId="{89B392DC-9E07-4D91-BFDF-596B9FE94324}" srcOrd="1" destOrd="0" presId="urn:microsoft.com/office/officeart/2005/8/layout/chevron2"/>
    <dgm:cxn modelId="{84ED5FD5-26DB-4648-90CB-A4E212C85B6C}" type="presParOf" srcId="{BEF14523-3205-4D6F-98BF-3B84C0D094DC}" destId="{1E959C9D-E2D0-4ADC-A497-849E66D2A837}" srcOrd="7" destOrd="0" presId="urn:microsoft.com/office/officeart/2005/8/layout/chevron2"/>
    <dgm:cxn modelId="{625BB135-89BF-4918-9E1D-91A8B255FFEA}" type="presParOf" srcId="{BEF14523-3205-4D6F-98BF-3B84C0D094DC}" destId="{5CCB0D46-8B3E-4C76-93CC-2B49EAC18DB3}" srcOrd="8" destOrd="0" presId="urn:microsoft.com/office/officeart/2005/8/layout/chevron2"/>
    <dgm:cxn modelId="{D36C07F2-7A7C-46CE-BB7A-AE9EFC1A36B7}" type="presParOf" srcId="{5CCB0D46-8B3E-4C76-93CC-2B49EAC18DB3}" destId="{4B41F63F-AB66-41D0-8786-7F42D7E44593}" srcOrd="0" destOrd="0" presId="urn:microsoft.com/office/officeart/2005/8/layout/chevron2"/>
    <dgm:cxn modelId="{70CC3112-8A42-481F-88F3-6264C6EFD516}" type="presParOf" srcId="{5CCB0D46-8B3E-4C76-93CC-2B49EAC18DB3}" destId="{5D94BAC6-1CFB-440D-8C56-DF181F601D5B}" srcOrd="1" destOrd="0" presId="urn:microsoft.com/office/officeart/2005/8/layout/chevron2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3CA3B6-2755-4399-9EC8-CE3639D06C83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1FDA0-3BCB-4798-AED0-671787C744EF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8DDF294-755D-4E01-AE65-C38D46C7DCD3}" type="slidenum">
              <a:rPr lang="en-US" smtClean="0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2E78EF-1244-4E38-A74B-AD87483EAF68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D4AB8-6181-4A36-855C-CDDF1FE76F0A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5"/>
          <p:cNvSpPr>
            <a:spLocks noChangeArrowheads="1"/>
          </p:cNvSpPr>
          <p:nvPr/>
        </p:nvSpPr>
        <p:spPr bwMode="auto">
          <a:xfrm>
            <a:off x="152400" y="767013"/>
            <a:ext cx="8991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600" b="1" dirty="0">
                <a:solidFill>
                  <a:schemeClr val="accent3">
                    <a:lumMod val="75000"/>
                  </a:schemeClr>
                </a:solidFill>
              </a:rPr>
              <a:t> Dr. D. Y. Patil Institute of Technology , Pimpri </a:t>
            </a:r>
            <a:endParaRPr lang="en-US" sz="48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2400" y="1524001"/>
            <a:ext cx="8991600" cy="5700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Presented by (Group No. 14)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Mr.Shashank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Sameer Joshi (Roll No. BMHC03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r. </a:t>
            </a:r>
            <a:r>
              <a:rPr lang="en-IN" altLang="en-US" sz="2200" dirty="0" err="1">
                <a:latin typeface="Times New Roman" pitchFamily="18" charset="0"/>
              </a:rPr>
              <a:t>Dineshkumar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Dhanappa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Vhankade</a:t>
            </a:r>
            <a:r>
              <a:rPr lang="en-IN" altLang="en-US" sz="2200" dirty="0">
                <a:latin typeface="Times New Roman" pitchFamily="18" charset="0"/>
              </a:rPr>
              <a:t> (</a:t>
            </a:r>
            <a:r>
              <a:rPr lang="en-US" altLang="en-US" sz="2200" dirty="0">
                <a:latin typeface="Times New Roman" pitchFamily="18" charset="0"/>
              </a:rPr>
              <a:t>Roll No.</a:t>
            </a:r>
            <a:r>
              <a:rPr lang="en-IN" altLang="en-US" sz="2200" dirty="0">
                <a:latin typeface="Times New Roman" pitchFamily="18" charset="0"/>
              </a:rPr>
              <a:t>BMHC04</a:t>
            </a:r>
            <a:r>
              <a:rPr lang="en-US" altLang="en-US" sz="2200" dirty="0">
                <a:latin typeface="Times New Roman" pitchFamily="18" charset="0"/>
              </a:rPr>
              <a:t>) 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Sneha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Vitth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Koli (Roll No. BMHC07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Kirtee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Pralhad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Dub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(Roll No.BMHC11)</a:t>
            </a:r>
          </a:p>
          <a:p>
            <a:pPr marL="365125" lvl="0" indent="-255587" algn="ctr" eaLnBrk="1" latinLnBrk="1" hangingPunct="1">
              <a:buFontTx/>
              <a:buNone/>
            </a:pPr>
            <a:endParaRPr lang="en-US" altLang="en-US" sz="2200" dirty="0">
              <a:latin typeface="Times New Roman" pitchFamily="18" charset="0"/>
              <a:ea typeface="Times New Roman" pitchFamily="18" charset="0"/>
            </a:endParaRP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Under the Guidance of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dirty="0" err="1" smtClean="0">
                <a:latin typeface="Times New Roman" pitchFamily="18" charset="0"/>
                <a:ea typeface="Times New Roman" pitchFamily="18" charset="0"/>
              </a:rPr>
              <a:t>Dr.Sumit</a:t>
            </a:r>
            <a:r>
              <a:rPr lang="en-US" altLang="en-US" sz="2400" dirty="0" smtClean="0">
                <a:latin typeface="Times New Roman" pitchFamily="18" charset="0"/>
                <a:ea typeface="Times New Roman" pitchFamily="18" charset="0"/>
              </a:rPr>
              <a:t> Desai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endParaRPr lang="en-US" altLang="en-US" sz="2400" dirty="0">
              <a:latin typeface="Times New Roman" pitchFamily="18" charset="0"/>
              <a:ea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3200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Project </a:t>
            </a:r>
            <a:r>
              <a:rPr lang="en-US" sz="32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Topic </a:t>
            </a:r>
            <a:r>
              <a:rPr lang="en-US" sz="3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:Design and </a:t>
            </a:r>
            <a:r>
              <a:rPr lang="en-US" sz="32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deveolopment</a:t>
            </a:r>
            <a:r>
              <a:rPr lang="en-US" sz="3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of XY axis drawing robot</a:t>
            </a:r>
            <a:endParaRPr lang="en-US" sz="3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2800" b="1" dirty="0">
                <a:solidFill>
                  <a:srgbClr val="7030A0"/>
                </a:solidFill>
              </a:rPr>
              <a:t>(Sponsored by </a:t>
            </a:r>
            <a:r>
              <a:rPr lang="en-US" sz="28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I-Tech </a:t>
            </a:r>
            <a:r>
              <a:rPr lang="en-US" sz="2800" b="1" dirty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Robotics &amp; Automation Pvt. Ltd.</a:t>
            </a:r>
            <a:r>
              <a:rPr lang="en-US" sz="2800" b="1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algn="ctr" eaLnBrk="0" hangingPunct="0">
              <a:defRPr/>
            </a:pPr>
            <a:endParaRPr lang="en-US" sz="2400" b="1" dirty="0">
              <a:solidFill>
                <a:srgbClr val="002060"/>
              </a:solidFill>
            </a:endParaRPr>
          </a:p>
        </p:txBody>
      </p:sp>
      <p:pic>
        <p:nvPicPr>
          <p:cNvPr id="4" name="Picture 3"/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3810000" y="152400"/>
            <a:ext cx="189865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>
        <p:push dir="r"/>
      </p:transition>
    </mc:Choice>
    <mc:Fallback>
      <p:transition>
        <p:push dir="r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2126"/>
            <a:ext cx="7391400" cy="1280890"/>
          </a:xfrm>
        </p:spPr>
        <p:txBody>
          <a:bodyPr>
            <a:normAutofit/>
          </a:bodyPr>
          <a:lstStyle/>
          <a:p>
            <a:r>
              <a:rPr lang="en-US" sz="2400" dirty="0"/>
              <a:t>All Components</a:t>
            </a:r>
            <a:endParaRPr lang="en-IN" sz="2400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=""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084790773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62400">
                  <a:extLst>
                    <a:ext uri="{9D8B030D-6E8A-4147-A177-3AD203B41FA5}">
                      <a16:colId xmlns="" xmlns:a16="http://schemas.microsoft.com/office/drawing/2014/main" val="2425828943"/>
                    </a:ext>
                  </a:extLst>
                </a:gridCol>
                <a:gridCol w="3429000">
                  <a:extLst>
                    <a:ext uri="{9D8B030D-6E8A-4147-A177-3AD203B41FA5}">
                      <a16:colId xmlns=""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GT2 Rubber Belt</a:t>
                      </a:r>
                      <a:endParaRPr lang="en-US" u="sng" dirty="0"/>
                    </a:p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GT2 16 teeth Pulley</a:t>
                      </a:r>
                      <a:r>
                        <a:rPr lang="en-US" dirty="0"/>
                        <a:t> 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Mounting bracket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Pen Holder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85BFD3A-6BD3-4087-AA8C-358ECEF166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0953"/>
          <a:stretch/>
        </p:blipFill>
        <p:spPr>
          <a:xfrm>
            <a:off x="1600200" y="1759570"/>
            <a:ext cx="2209800" cy="19690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0F26FA3-D1B7-4F4B-AE7E-14B4D0345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675" y="2023479"/>
            <a:ext cx="1238250" cy="17051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3402DADF-64AD-4DA5-9059-74F185C410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3113" y="4267200"/>
            <a:ext cx="2336887" cy="22046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7B507189-B11E-4E98-872D-1C8717B696B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99" t="14157" r="4172"/>
          <a:stretch/>
        </p:blipFill>
        <p:spPr>
          <a:xfrm>
            <a:off x="4800600" y="4495800"/>
            <a:ext cx="2892197" cy="170513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297571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>
        <p:push dir="r"/>
      </p:transition>
    </mc:Choice>
    <mc:Fallback>
      <p:transition>
        <p:push dir="r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icsArt_09-30-10.10.30.jpg"/>
          <p:cNvPicPr>
            <a:picLocks noChangeAspect="1"/>
          </p:cNvPicPr>
          <p:nvPr/>
        </p:nvPicPr>
        <p:blipFill>
          <a:blip r:embed="rId2"/>
          <a:srcRect l="19804" t="80000" r="16928" b="7778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5" name="Picture 4" descr="PicsArt_09-30-10.10.30.jpg"/>
          <p:cNvPicPr>
            <a:picLocks noChangeAspect="1"/>
          </p:cNvPicPr>
          <p:nvPr/>
        </p:nvPicPr>
        <p:blipFill>
          <a:blip r:embed="rId3" cstate="print"/>
          <a:srcRect l="6513" t="4444" r="6217" b="14820"/>
          <a:stretch>
            <a:fillRect/>
          </a:stretch>
        </p:blipFill>
        <p:spPr>
          <a:xfrm>
            <a:off x="1905000" y="228600"/>
            <a:ext cx="5410200" cy="6324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ll of material</a:t>
            </a:r>
            <a:endParaRPr lang="en-US" dirty="0"/>
          </a:p>
        </p:txBody>
      </p:sp>
      <p:pic>
        <p:nvPicPr>
          <p:cNvPr id="4" name="Content Placeholder 3" descr="Screenshot (22).png"/>
          <p:cNvPicPr>
            <a:picLocks noGrp="1" noChangeAspect="1"/>
          </p:cNvPicPr>
          <p:nvPr>
            <p:ph idx="1"/>
          </p:nvPr>
        </p:nvPicPr>
        <p:blipFill>
          <a:blip r:embed="rId2"/>
          <a:srcRect l="1725" t="25254" r="11190" b="10768"/>
          <a:stretch>
            <a:fillRect/>
          </a:stretch>
        </p:blipFill>
        <p:spPr>
          <a:xfrm>
            <a:off x="0" y="1371600"/>
            <a:ext cx="9144000" cy="548640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shot (23).png"/>
          <p:cNvPicPr>
            <a:picLocks noGrp="1" noChangeAspect="1"/>
          </p:cNvPicPr>
          <p:nvPr>
            <p:ph idx="1"/>
          </p:nvPr>
        </p:nvPicPr>
        <p:blipFill>
          <a:blip r:embed="rId2"/>
          <a:srcRect l="1725" t="33672" r="11190" b="17503"/>
          <a:stretch>
            <a:fillRect/>
          </a:stretch>
        </p:blipFill>
        <p:spPr>
          <a:xfrm>
            <a:off x="228600" y="304800"/>
            <a:ext cx="8702566" cy="4267200"/>
          </a:xfr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lected </a:t>
            </a:r>
            <a:r>
              <a:rPr lang="en-US" dirty="0" err="1" smtClean="0"/>
              <a:t>hardwares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8922" y="1600200"/>
            <a:ext cx="8046156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Screenshot (55)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0" y="4152234"/>
            <a:ext cx="4812600" cy="2705766"/>
          </a:xfrm>
          <a:prstGeom prst="rect">
            <a:avLst/>
          </a:prstGeom>
        </p:spPr>
      </p:pic>
      <p:pic>
        <p:nvPicPr>
          <p:cNvPr id="8" name="Picture 7" descr="Screenshot (57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152234"/>
            <a:ext cx="4812600" cy="2705766"/>
          </a:xfrm>
          <a:prstGeom prst="rect">
            <a:avLst/>
          </a:prstGeom>
        </p:spPr>
      </p:pic>
      <p:pic>
        <p:nvPicPr>
          <p:cNvPr id="9" name="Picture 8" descr="Screenshot (58)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1295400"/>
            <a:ext cx="4812600" cy="2705766"/>
          </a:xfrm>
          <a:prstGeom prst="rect">
            <a:avLst/>
          </a:prstGeom>
        </p:spPr>
      </p:pic>
      <p:pic>
        <p:nvPicPr>
          <p:cNvPr id="10" name="Picture 9" descr="Screenshot (59)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95400"/>
            <a:ext cx="4812600" cy="2705766"/>
          </a:xfrm>
          <a:prstGeom prst="rect">
            <a:avLst/>
          </a:prstGeom>
        </p:spPr>
      </p:pic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Screenshot (53)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4800"/>
            <a:ext cx="4812600" cy="2705766"/>
          </a:xfrm>
          <a:prstGeom prst="rect">
            <a:avLst/>
          </a:prstGeom>
        </p:spPr>
      </p:pic>
      <p:pic>
        <p:nvPicPr>
          <p:cNvPr id="5" name="Content Placeholder 3" descr="Screenshot (50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141" y="533400"/>
            <a:ext cx="4236859" cy="2382070"/>
          </a:xfrm>
          <a:prstGeom prst="rect">
            <a:avLst/>
          </a:prstGeom>
        </p:spPr>
      </p:pic>
      <p:pic>
        <p:nvPicPr>
          <p:cNvPr id="6" name="Content Placeholder 5" descr="Screenshot (52).png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57201" y="2895601"/>
            <a:ext cx="7239000" cy="406995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Stl</a:t>
            </a:r>
            <a:r>
              <a:rPr lang="en-US" dirty="0" smtClean="0"/>
              <a:t> file</a:t>
            </a:r>
          </a:p>
          <a:p>
            <a:r>
              <a:rPr lang="en-US" dirty="0" err="1" smtClean="0"/>
              <a:t>Qura</a:t>
            </a:r>
            <a:endParaRPr lang="en-US" dirty="0" smtClean="0"/>
          </a:p>
          <a:p>
            <a:r>
              <a:rPr lang="en-US" dirty="0" smtClean="0"/>
              <a:t>3d printing </a:t>
            </a:r>
            <a:r>
              <a:rPr lang="en-US" dirty="0" err="1" smtClean="0"/>
              <a:t>pics</a:t>
            </a:r>
            <a:r>
              <a:rPr lang="en-US" dirty="0" smtClean="0"/>
              <a:t> and visit </a:t>
            </a:r>
            <a:r>
              <a:rPr lang="en-US" dirty="0" err="1" smtClean="0"/>
              <a:t>pics</a:t>
            </a:r>
            <a:endParaRPr lang="en-US" dirty="0" smtClean="0"/>
          </a:p>
          <a:p>
            <a:r>
              <a:rPr lang="en-US" dirty="0" err="1" smtClean="0"/>
              <a:t>Pics</a:t>
            </a:r>
            <a:r>
              <a:rPr lang="en-US" dirty="0" smtClean="0"/>
              <a:t> of prototype</a:t>
            </a:r>
          </a:p>
          <a:p>
            <a:r>
              <a:rPr lang="en-US" smtClean="0"/>
              <a:t>Material collection</a:t>
            </a: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359FA6C-1BF7-4D23-8FDA-D30EDF4D93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" r="68907"/>
          <a:stretch/>
        </p:blipFill>
        <p:spPr>
          <a:xfrm>
            <a:off x="0" y="0"/>
            <a:ext cx="2895600" cy="6858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6CF1BDD-696C-4093-9CEF-A2609F77488B}"/>
              </a:ext>
            </a:extLst>
          </p:cNvPr>
          <p:cNvSpPr/>
          <p:nvPr/>
        </p:nvSpPr>
        <p:spPr>
          <a:xfrm>
            <a:off x="2892490" y="9144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IN" b="1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E6A359FC-7F85-4D27-8627-E95F37B2651B}"/>
              </a:ext>
            </a:extLst>
          </p:cNvPr>
          <p:cNvSpPr/>
          <p:nvPr/>
        </p:nvSpPr>
        <p:spPr>
          <a:xfrm>
            <a:off x="2895602" y="18288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IN" b="1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D01E9375-C773-440B-919A-56CC022AD38F}"/>
              </a:ext>
            </a:extLst>
          </p:cNvPr>
          <p:cNvSpPr/>
          <p:nvPr/>
        </p:nvSpPr>
        <p:spPr>
          <a:xfrm>
            <a:off x="2892490" y="27432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IN" b="1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E14CDF6-75A2-405A-8CA3-EF3D9EED9FB5}"/>
              </a:ext>
            </a:extLst>
          </p:cNvPr>
          <p:cNvSpPr/>
          <p:nvPr/>
        </p:nvSpPr>
        <p:spPr>
          <a:xfrm>
            <a:off x="2892490" y="36576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  <a:endParaRPr lang="en-IN" b="1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38190087-6BD7-4CCB-A004-6882B2227BD6}"/>
              </a:ext>
            </a:extLst>
          </p:cNvPr>
          <p:cNvSpPr/>
          <p:nvPr/>
        </p:nvSpPr>
        <p:spPr>
          <a:xfrm>
            <a:off x="2892490" y="45720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  <a:endParaRPr lang="en-IN" b="1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7A7E6CD9-0892-4E14-9F9D-BB9E31D69A41}"/>
              </a:ext>
            </a:extLst>
          </p:cNvPr>
          <p:cNvSpPr/>
          <p:nvPr/>
        </p:nvSpPr>
        <p:spPr>
          <a:xfrm>
            <a:off x="2892490" y="5486400"/>
            <a:ext cx="609598" cy="609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6</a:t>
            </a:r>
            <a:endParaRPr lang="en-IN" b="1" dirty="0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1BAFB7C-CDEE-4249-8B8D-5CB38E3BBB0C}"/>
              </a:ext>
            </a:extLst>
          </p:cNvPr>
          <p:cNvSpPr/>
          <p:nvPr/>
        </p:nvSpPr>
        <p:spPr>
          <a:xfrm>
            <a:off x="3622614" y="9906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F0169923-25D6-491D-8A3E-E6263F57F20B}"/>
              </a:ext>
            </a:extLst>
          </p:cNvPr>
          <p:cNvSpPr txBox="1"/>
          <p:nvPr/>
        </p:nvSpPr>
        <p:spPr>
          <a:xfrm>
            <a:off x="3581400" y="1047690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CDE5749C-2249-49EF-855A-67103F757AB0}"/>
              </a:ext>
            </a:extLst>
          </p:cNvPr>
          <p:cNvSpPr/>
          <p:nvPr/>
        </p:nvSpPr>
        <p:spPr>
          <a:xfrm>
            <a:off x="3775014" y="18288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8AD33CD7-AA94-4696-982A-6D70CB77426A}"/>
              </a:ext>
            </a:extLst>
          </p:cNvPr>
          <p:cNvSpPr/>
          <p:nvPr/>
        </p:nvSpPr>
        <p:spPr>
          <a:xfrm>
            <a:off x="3622614" y="18669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D27F67AD-EE5E-4ED1-A20B-D638ACABC186}"/>
              </a:ext>
            </a:extLst>
          </p:cNvPr>
          <p:cNvSpPr txBox="1"/>
          <p:nvPr/>
        </p:nvSpPr>
        <p:spPr>
          <a:xfrm>
            <a:off x="3581400" y="1962090"/>
            <a:ext cx="441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BLEM STATEMENT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B9379C71-1723-4578-9BE9-7DD44AB66848}"/>
              </a:ext>
            </a:extLst>
          </p:cNvPr>
          <p:cNvSpPr txBox="1"/>
          <p:nvPr/>
        </p:nvSpPr>
        <p:spPr>
          <a:xfrm>
            <a:off x="3581400" y="3790890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BJECTIVES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72DC9BF9-A5FE-4A8F-9B51-DDAE48BDCEB2}"/>
              </a:ext>
            </a:extLst>
          </p:cNvPr>
          <p:cNvSpPr txBox="1"/>
          <p:nvPr/>
        </p:nvSpPr>
        <p:spPr>
          <a:xfrm>
            <a:off x="3581400" y="2821284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6F277B88-5FE2-49C6-82FB-DE457C81AE98}"/>
              </a:ext>
            </a:extLst>
          </p:cNvPr>
          <p:cNvSpPr txBox="1"/>
          <p:nvPr/>
        </p:nvSpPr>
        <p:spPr>
          <a:xfrm>
            <a:off x="3581400" y="4648200"/>
            <a:ext cx="3886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26280B7-CD26-47B9-A546-E4F0AC2E93EB}"/>
              </a:ext>
            </a:extLst>
          </p:cNvPr>
          <p:cNvSpPr txBox="1"/>
          <p:nvPr/>
        </p:nvSpPr>
        <p:spPr>
          <a:xfrm>
            <a:off x="3581400" y="5562600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FEERENCES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1435405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epositphotos_60148837-stock-photo-industrial-robot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95600"/>
            <a:ext cx="4419600" cy="3962400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00F3D7CC-A28A-4804-BA66-3410BBD8C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7886700" cy="990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NTRODUCTION OF ROBOT</a:t>
            </a:r>
            <a:endParaRPr lang="en-IN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44D7EC76-A032-4E1D-AD41-C2B2800FE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9200"/>
            <a:ext cx="8382000" cy="5029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4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hat is robot?.</a:t>
            </a:r>
          </a:p>
          <a:p>
            <a:pPr marL="0" indent="0">
              <a:buNone/>
            </a:pPr>
            <a:r>
              <a:rPr lang="en-US" sz="2800" dirty="0" smtClean="0">
                <a:latin typeface="Comic Sans MS" pitchFamily="66" charset="0"/>
              </a:rPr>
              <a:t>A robot is a type of automated machine </a:t>
            </a:r>
            <a:r>
              <a:rPr lang="en-US" sz="2800" dirty="0" smtClean="0">
                <a:latin typeface="Comic Sans MS" pitchFamily="66" charset="0"/>
              </a:rPr>
              <a:t>that</a:t>
            </a:r>
          </a:p>
          <a:p>
            <a:pPr marL="0" indent="0">
              <a:buNone/>
            </a:pPr>
            <a:r>
              <a:rPr lang="en-US" sz="2800" dirty="0" smtClean="0">
                <a:latin typeface="Comic Sans MS" pitchFamily="66" charset="0"/>
              </a:rPr>
              <a:t>Can </a:t>
            </a:r>
            <a:r>
              <a:rPr lang="en-US" sz="2800" dirty="0" smtClean="0">
                <a:latin typeface="Comic Sans MS" pitchFamily="66" charset="0"/>
              </a:rPr>
              <a:t>execute specific tasks with little or no human intervention and with speed and precision</a:t>
            </a:r>
            <a:r>
              <a:rPr lang="en-US" sz="2800" dirty="0" smtClean="0">
                <a:latin typeface="Comic Sans MS" pitchFamily="66" charset="0"/>
              </a:rPr>
              <a:t>.</a:t>
            </a:r>
          </a:p>
          <a:p>
            <a:pPr marL="0" indent="0">
              <a:buNone/>
            </a:pPr>
            <a:endParaRPr lang="en-IN" sz="2800" dirty="0">
              <a:latin typeface="Comic Sans MS" pitchFamily="66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DEB5464-D8BB-4587-9582-3C05729B47C6}"/>
              </a:ext>
            </a:extLst>
          </p:cNvPr>
          <p:cNvCxnSpPr>
            <a:cxnSpLocks/>
          </p:cNvCxnSpPr>
          <p:nvPr/>
        </p:nvCxnSpPr>
        <p:spPr>
          <a:xfrm flipV="1">
            <a:off x="0" y="762000"/>
            <a:ext cx="8686800" cy="1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7103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xmlns="" id="{6F734127-255E-474D-BCCC-A3AA4F81BD17}"/>
              </a:ext>
            </a:extLst>
          </p:cNvPr>
          <p:cNvGrpSpPr/>
          <p:nvPr/>
        </p:nvGrpSpPr>
        <p:grpSpPr>
          <a:xfrm>
            <a:off x="228600" y="152401"/>
            <a:ext cx="8686800" cy="6477000"/>
            <a:chOff x="2149338" y="1173385"/>
            <a:chExt cx="7088770" cy="5565347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xmlns="" id="{D3126F18-B58C-497F-BF81-9CC940E9A7FE}"/>
                </a:ext>
              </a:extLst>
            </p:cNvPr>
            <p:cNvSpPr/>
            <p:nvPr/>
          </p:nvSpPr>
          <p:spPr>
            <a:xfrm>
              <a:off x="4944588" y="1173385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1">
                    <a:lumMod val="50000"/>
                  </a:schemeClr>
                </a:gs>
                <a:gs pos="0">
                  <a:schemeClr val="accent1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xmlns="" id="{0DC07F2F-6453-43AE-AF4F-C5AEF03BE3C0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4433899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53701FCF-1929-492F-BA0E-824446C1457F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3425685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8C191C8D-8AAB-405E-85BD-A1E4ED1066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21439" y="2387353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xmlns="" id="{C254BC01-9D25-4A19-80D5-7B757D767483}"/>
                </a:ext>
              </a:extLst>
            </p:cNvPr>
            <p:cNvCxnSpPr>
              <a:cxnSpLocks/>
              <a:endCxn id="93" idx="5"/>
            </p:cNvCxnSpPr>
            <p:nvPr/>
          </p:nvCxnSpPr>
          <p:spPr>
            <a:xfrm flipH="1" flipV="1">
              <a:off x="5672655" y="5356186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xmlns="" id="{14108687-EA62-4674-82F9-11E7E83F82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68089" y="585947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38C1CA47-1702-4B3F-9B4E-B012E16DE6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71494" y="169272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956CA6CD-0CA0-49A3-924E-DADD3ACF2A89}"/>
                </a:ext>
              </a:extLst>
            </p:cNvPr>
            <p:cNvSpPr/>
            <p:nvPr/>
          </p:nvSpPr>
          <p:spPr>
            <a:xfrm rot="10800000" flipH="1" flipV="1">
              <a:off x="3031888" y="4044095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03086A70-4DF3-4596-B703-3EB170B536C9}"/>
                </a:ext>
              </a:extLst>
            </p:cNvPr>
            <p:cNvSpPr/>
            <p:nvPr/>
          </p:nvSpPr>
          <p:spPr>
            <a:xfrm rot="10800000" flipH="1">
              <a:off x="2991669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8B06FD7F-4E7B-4419-A6D1-4AB0A83C5716}"/>
                </a:ext>
              </a:extLst>
            </p:cNvPr>
            <p:cNvSpPr/>
            <p:nvPr/>
          </p:nvSpPr>
          <p:spPr>
            <a:xfrm rot="10800000">
              <a:off x="4042888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AE32E367-C880-4C93-B1B8-B9CC9C2B7E0A}"/>
                </a:ext>
              </a:extLst>
            </p:cNvPr>
            <p:cNvSpPr/>
            <p:nvPr/>
          </p:nvSpPr>
          <p:spPr>
            <a:xfrm rot="10800000">
              <a:off x="4088911" y="2950029"/>
              <a:ext cx="1458812" cy="1041113"/>
            </a:xfrm>
            <a:custGeom>
              <a:avLst/>
              <a:gdLst>
                <a:gd name="connsiteX0" fmla="*/ 583398 w 1890242"/>
                <a:gd name="connsiteY0" fmla="*/ 1349012 h 1349012"/>
                <a:gd name="connsiteX1" fmla="*/ 561308 w 1890242"/>
                <a:gd name="connsiteY1" fmla="*/ 1328935 h 1349012"/>
                <a:gd name="connsiteX2" fmla="*/ 541230 w 1890242"/>
                <a:gd name="connsiteY2" fmla="*/ 1306844 h 1349012"/>
                <a:gd name="connsiteX3" fmla="*/ 437287 w 1890242"/>
                <a:gd name="connsiteY3" fmla="*/ 1192477 h 1349012"/>
                <a:gd name="connsiteX4" fmla="*/ 8416 w 1890242"/>
                <a:gd name="connsiteY4" fmla="*/ 166652 h 1349012"/>
                <a:gd name="connsiteX5" fmla="*/ 0 w 1890242"/>
                <a:gd name="connsiteY5" fmla="*/ 0 h 1349012"/>
                <a:gd name="connsiteX6" fmla="*/ 1848074 w 1890242"/>
                <a:gd name="connsiteY6" fmla="*/ 0 h 1349012"/>
                <a:gd name="connsiteX7" fmla="*/ 1890242 w 1890242"/>
                <a:gd name="connsiteY7" fmla="*/ 0 h 1349012"/>
                <a:gd name="connsiteX8" fmla="*/ 1890242 w 1890242"/>
                <a:gd name="connsiteY8" fmla="*/ 42169 h 134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242" h="1349012">
                  <a:moveTo>
                    <a:pt x="583398" y="1349012"/>
                  </a:moveTo>
                  <a:lnTo>
                    <a:pt x="561308" y="1328935"/>
                  </a:lnTo>
                  <a:lnTo>
                    <a:pt x="541230" y="1306844"/>
                  </a:lnTo>
                  <a:lnTo>
                    <a:pt x="437287" y="1192477"/>
                  </a:lnTo>
                  <a:cubicBezTo>
                    <a:pt x="202325" y="907769"/>
                    <a:pt x="47777" y="554236"/>
                    <a:pt x="8416" y="166652"/>
                  </a:cubicBezTo>
                  <a:lnTo>
                    <a:pt x="0" y="0"/>
                  </a:lnTo>
                  <a:lnTo>
                    <a:pt x="1848074" y="0"/>
                  </a:lnTo>
                  <a:lnTo>
                    <a:pt x="1890242" y="0"/>
                  </a:lnTo>
                  <a:lnTo>
                    <a:pt x="1890242" y="4216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A20F04F2-3C6B-4212-9DA3-15D952C2A3F1}"/>
                </a:ext>
              </a:extLst>
            </p:cNvPr>
            <p:cNvSpPr/>
            <p:nvPr/>
          </p:nvSpPr>
          <p:spPr>
            <a:xfrm rot="10800000">
              <a:off x="4098443" y="3991142"/>
              <a:ext cx="1450442" cy="1054593"/>
            </a:xfrm>
            <a:custGeom>
              <a:avLst/>
              <a:gdLst>
                <a:gd name="connsiteX0" fmla="*/ 1849579 w 1879396"/>
                <a:gd name="connsiteY0" fmla="*/ 1366478 h 1366478"/>
                <a:gd name="connsiteX1" fmla="*/ 1505 w 1879396"/>
                <a:gd name="connsiteY1" fmla="*/ 1366478 h 1366478"/>
                <a:gd name="connsiteX2" fmla="*/ 0 w 1879396"/>
                <a:gd name="connsiteY2" fmla="*/ 1336661 h 1366478"/>
                <a:gd name="connsiteX3" fmla="*/ 1505 w 1879396"/>
                <a:gd name="connsiteY3" fmla="*/ 1306843 h 1366478"/>
                <a:gd name="connsiteX4" fmla="*/ 9921 w 1879396"/>
                <a:gd name="connsiteY4" fmla="*/ 1140192 h 1366478"/>
                <a:gd name="connsiteX5" fmla="*/ 438792 w 1879396"/>
                <a:gd name="connsiteY5" fmla="*/ 114367 h 1366478"/>
                <a:gd name="connsiteX6" fmla="*/ 542735 w 1879396"/>
                <a:gd name="connsiteY6" fmla="*/ 0 h 1366478"/>
                <a:gd name="connsiteX7" fmla="*/ 1849578 w 1879396"/>
                <a:gd name="connsiteY7" fmla="*/ 1306843 h 1366478"/>
                <a:gd name="connsiteX8" fmla="*/ 1879396 w 1879396"/>
                <a:gd name="connsiteY8" fmla="*/ 1336661 h 136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9396" h="1366478">
                  <a:moveTo>
                    <a:pt x="1849579" y="1366478"/>
                  </a:moveTo>
                  <a:lnTo>
                    <a:pt x="1505" y="1366478"/>
                  </a:lnTo>
                  <a:lnTo>
                    <a:pt x="0" y="1336661"/>
                  </a:lnTo>
                  <a:lnTo>
                    <a:pt x="1505" y="1306843"/>
                  </a:lnTo>
                  <a:lnTo>
                    <a:pt x="9921" y="1140192"/>
                  </a:lnTo>
                  <a:cubicBezTo>
                    <a:pt x="49282" y="752608"/>
                    <a:pt x="203830" y="399076"/>
                    <a:pt x="438792" y="114367"/>
                  </a:cubicBezTo>
                  <a:lnTo>
                    <a:pt x="542735" y="0"/>
                  </a:lnTo>
                  <a:lnTo>
                    <a:pt x="1849578" y="1306843"/>
                  </a:lnTo>
                  <a:lnTo>
                    <a:pt x="1879396" y="133666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D7CD410A-A0A9-4776-9347-F32204152A88}"/>
                </a:ext>
              </a:extLst>
            </p:cNvPr>
            <p:cNvSpPr/>
            <p:nvPr/>
          </p:nvSpPr>
          <p:spPr>
            <a:xfrm rot="10800000">
              <a:off x="4088911" y="4037166"/>
              <a:ext cx="1041113" cy="1458811"/>
            </a:xfrm>
            <a:custGeom>
              <a:avLst/>
              <a:gdLst>
                <a:gd name="connsiteX0" fmla="*/ 1349012 w 1349012"/>
                <a:gd name="connsiteY0" fmla="*/ 1890241 h 1890241"/>
                <a:gd name="connsiteX1" fmla="*/ 1306843 w 1349012"/>
                <a:gd name="connsiteY1" fmla="*/ 1890241 h 1890241"/>
                <a:gd name="connsiteX2" fmla="*/ 0 w 1349012"/>
                <a:gd name="connsiteY2" fmla="*/ 583398 h 1890241"/>
                <a:gd name="connsiteX3" fmla="*/ 20078 w 1349012"/>
                <a:gd name="connsiteY3" fmla="*/ 561307 h 1890241"/>
                <a:gd name="connsiteX4" fmla="*/ 42168 w 1349012"/>
                <a:gd name="connsiteY4" fmla="*/ 541230 h 1890241"/>
                <a:gd name="connsiteX5" fmla="*/ 156536 w 1349012"/>
                <a:gd name="connsiteY5" fmla="*/ 437286 h 1890241"/>
                <a:gd name="connsiteX6" fmla="*/ 1182361 w 1349012"/>
                <a:gd name="connsiteY6" fmla="*/ 8415 h 1890241"/>
                <a:gd name="connsiteX7" fmla="*/ 1349012 w 1349012"/>
                <a:gd name="connsiteY7" fmla="*/ 0 h 1890241"/>
                <a:gd name="connsiteX8" fmla="*/ 1349012 w 1349012"/>
                <a:gd name="connsiteY8" fmla="*/ 1848074 h 189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9012" h="1890241">
                  <a:moveTo>
                    <a:pt x="1349012" y="1890241"/>
                  </a:moveTo>
                  <a:lnTo>
                    <a:pt x="1306843" y="1890241"/>
                  </a:lnTo>
                  <a:lnTo>
                    <a:pt x="0" y="583398"/>
                  </a:lnTo>
                  <a:lnTo>
                    <a:pt x="20078" y="561307"/>
                  </a:lnTo>
                  <a:lnTo>
                    <a:pt x="42168" y="541230"/>
                  </a:lnTo>
                  <a:lnTo>
                    <a:pt x="156536" y="437286"/>
                  </a:lnTo>
                  <a:cubicBezTo>
                    <a:pt x="441244" y="202324"/>
                    <a:pt x="794777" y="47776"/>
                    <a:pt x="1182361" y="8415"/>
                  </a:cubicBezTo>
                  <a:lnTo>
                    <a:pt x="1349012" y="0"/>
                  </a:lnTo>
                  <a:lnTo>
                    <a:pt x="1349012" y="184807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C61EA279-76FB-4763-94CB-9D7ECE3E7436}"/>
                </a:ext>
              </a:extLst>
            </p:cNvPr>
            <p:cNvSpPr/>
            <p:nvPr/>
          </p:nvSpPr>
          <p:spPr>
            <a:xfrm>
              <a:off x="2544198" y="2686041"/>
              <a:ext cx="2849814" cy="265622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Make such a </a:t>
              </a:r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Comic Sans MS" pitchFamily="66" charset="0"/>
                </a:rPr>
                <a:t>robot</a:t>
              </a:r>
            </a:p>
            <a:p>
              <a:pPr algn="ctr"/>
              <a:r>
                <a:rPr lang="en-US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Comic Sans MS" pitchFamily="66" charset="0"/>
                </a:rPr>
                <a:t>which</a:t>
              </a:r>
              <a:endParaRPr lang="en-US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xmlns="" id="{B955036C-442C-419F-99A7-BA1165AE86D6}"/>
                </a:ext>
              </a:extLst>
            </p:cNvPr>
            <p:cNvSpPr/>
            <p:nvPr/>
          </p:nvSpPr>
          <p:spPr>
            <a:xfrm>
              <a:off x="2149338" y="2032506"/>
              <a:ext cx="3898209" cy="3898209"/>
            </a:xfrm>
            <a:prstGeom prst="arc">
              <a:avLst>
                <a:gd name="adj1" fmla="val 14524039"/>
                <a:gd name="adj2" fmla="val 7403598"/>
              </a:avLst>
            </a:prstGeom>
            <a:ln w="38100" cap="rnd">
              <a:solidFill>
                <a:schemeClr val="bg1"/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grpSp>
          <p:nvGrpSpPr>
            <p:cNvPr id="3" name="Group 51">
              <a:extLst>
                <a:ext uri="{FF2B5EF4-FFF2-40B4-BE49-F238E27FC236}">
                  <a16:creationId xmlns:a16="http://schemas.microsoft.com/office/drawing/2014/main" xmlns="" id="{62C3453A-C0F8-4D4B-8A51-AD7E1ED75FAD}"/>
                </a:ext>
              </a:extLst>
            </p:cNvPr>
            <p:cNvGrpSpPr/>
            <p:nvPr/>
          </p:nvGrpSpPr>
          <p:grpSpPr>
            <a:xfrm>
              <a:off x="4609467" y="2000706"/>
              <a:ext cx="335122" cy="335122"/>
              <a:chOff x="3997477" y="1382992"/>
              <a:chExt cx="403282" cy="403282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xmlns="" id="{7AF36C8D-9142-4C6C-8EAE-C868C809CEC6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xmlns="" id="{7BDA5861-38E8-44FC-A566-A69A0CA2A7A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4" name="Group 52">
              <a:extLst>
                <a:ext uri="{FF2B5EF4-FFF2-40B4-BE49-F238E27FC236}">
                  <a16:creationId xmlns:a16="http://schemas.microsoft.com/office/drawing/2014/main" xmlns="" id="{E83A3C2A-7C2F-4F04-BDAA-0CFF01D7D5F0}"/>
                </a:ext>
              </a:extLst>
            </p:cNvPr>
            <p:cNvGrpSpPr/>
            <p:nvPr/>
          </p:nvGrpSpPr>
          <p:grpSpPr>
            <a:xfrm>
              <a:off x="5394011" y="2550597"/>
              <a:ext cx="335122" cy="335122"/>
              <a:chOff x="3997477" y="1382992"/>
              <a:chExt cx="403282" cy="403282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xmlns="" id="{9CBEFD18-873A-41DF-8078-F5508D5589D4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xmlns="" id="{F6748DF2-98B0-4C82-9237-2C1FC9841F6F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5" name="Group 53">
              <a:extLst>
                <a:ext uri="{FF2B5EF4-FFF2-40B4-BE49-F238E27FC236}">
                  <a16:creationId xmlns:a16="http://schemas.microsoft.com/office/drawing/2014/main" xmlns="" id="{4E4E2E77-755E-4C8B-B9F1-C6D81B941843}"/>
                </a:ext>
              </a:extLst>
            </p:cNvPr>
            <p:cNvGrpSpPr/>
            <p:nvPr/>
          </p:nvGrpSpPr>
          <p:grpSpPr>
            <a:xfrm>
              <a:off x="5806807" y="3258125"/>
              <a:ext cx="335122" cy="335122"/>
              <a:chOff x="3997477" y="1382992"/>
              <a:chExt cx="403282" cy="403282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xmlns="" id="{46751ED3-882A-4091-8EF6-6F5CD3974CEB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xmlns="" id="{0BDDD83F-14ED-4A6C-9996-3EF63CC30EC7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6" name="Group 54">
              <a:extLst>
                <a:ext uri="{FF2B5EF4-FFF2-40B4-BE49-F238E27FC236}">
                  <a16:creationId xmlns:a16="http://schemas.microsoft.com/office/drawing/2014/main" xmlns="" id="{DB0EB732-33E4-4D68-A5CC-D3FAA75546CD}"/>
                </a:ext>
              </a:extLst>
            </p:cNvPr>
            <p:cNvGrpSpPr/>
            <p:nvPr/>
          </p:nvGrpSpPr>
          <p:grpSpPr>
            <a:xfrm>
              <a:off x="5805665" y="4266338"/>
              <a:ext cx="335122" cy="335122"/>
              <a:chOff x="3997477" y="1382992"/>
              <a:chExt cx="403282" cy="403282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xmlns="" id="{BB1F3D29-9C05-4A1F-8279-1047BC98EE0F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xmlns="" id="{9741D580-C21E-46FF-936C-DBC0817954D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7" name="Group 55">
              <a:extLst>
                <a:ext uri="{FF2B5EF4-FFF2-40B4-BE49-F238E27FC236}">
                  <a16:creationId xmlns:a16="http://schemas.microsoft.com/office/drawing/2014/main" xmlns="" id="{2122DFE3-FCF8-43CB-9373-731104A955D3}"/>
                </a:ext>
              </a:extLst>
            </p:cNvPr>
            <p:cNvGrpSpPr/>
            <p:nvPr/>
          </p:nvGrpSpPr>
          <p:grpSpPr>
            <a:xfrm>
              <a:off x="5410650" y="5094181"/>
              <a:ext cx="335122" cy="335122"/>
              <a:chOff x="3997477" y="1382992"/>
              <a:chExt cx="403282" cy="403282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xmlns="" id="{D61ADD3A-9340-4A46-8071-E1C8B81E7DB9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xmlns="" id="{9B74A460-D637-4AB5-AD2D-18E172AC5493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8" name="Group 56">
              <a:extLst>
                <a:ext uri="{FF2B5EF4-FFF2-40B4-BE49-F238E27FC236}">
                  <a16:creationId xmlns:a16="http://schemas.microsoft.com/office/drawing/2014/main" xmlns="" id="{E6F77C52-2C6E-4048-B75A-9E4B1F598F31}"/>
                </a:ext>
              </a:extLst>
            </p:cNvPr>
            <p:cNvGrpSpPr/>
            <p:nvPr/>
          </p:nvGrpSpPr>
          <p:grpSpPr>
            <a:xfrm>
              <a:off x="4609466" y="5695273"/>
              <a:ext cx="335122" cy="335122"/>
              <a:chOff x="3997477" y="1382992"/>
              <a:chExt cx="403282" cy="403282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xmlns="" id="{76D53C14-9515-4349-B84C-F73087A6CCB7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xmlns="" id="{FF1E579A-655E-46BF-9617-51DB880D2DD9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 dirty="0"/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680387A1-6914-42FE-A475-0CCC38C31E5C}"/>
                </a:ext>
              </a:extLst>
            </p:cNvPr>
            <p:cNvSpPr/>
            <p:nvPr/>
          </p:nvSpPr>
          <p:spPr>
            <a:xfrm>
              <a:off x="4910591" y="1177394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xmlns="" id="{DF154F52-0518-4CCA-A43D-E55E216AB079}"/>
                </a:ext>
              </a:extLst>
            </p:cNvPr>
            <p:cNvSpPr/>
            <p:nvPr/>
          </p:nvSpPr>
          <p:spPr>
            <a:xfrm>
              <a:off x="5862737" y="204912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2">
                    <a:lumMod val="50000"/>
                  </a:schemeClr>
                </a:gs>
                <a:gs pos="0">
                  <a:schemeClr val="accent2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31859DFD-0B30-4F98-926F-C69DDCD26A01}"/>
                </a:ext>
              </a:extLst>
            </p:cNvPr>
            <p:cNvSpPr/>
            <p:nvPr/>
          </p:nvSpPr>
          <p:spPr>
            <a:xfrm>
              <a:off x="5828740" y="20531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xmlns="" id="{3ADD3300-CBC8-4B4C-B1AF-C7264B78BD8A}"/>
                </a:ext>
              </a:extLst>
            </p:cNvPr>
            <p:cNvSpPr/>
            <p:nvPr/>
          </p:nvSpPr>
          <p:spPr>
            <a:xfrm>
              <a:off x="6445232" y="310722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3">
                    <a:lumMod val="50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xmlns="" id="{2E97CE0C-AA78-4787-B492-FEB85D67F0AA}"/>
                </a:ext>
              </a:extLst>
            </p:cNvPr>
            <p:cNvSpPr/>
            <p:nvPr/>
          </p:nvSpPr>
          <p:spPr>
            <a:xfrm>
              <a:off x="6411236" y="31112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xmlns="" id="{12DF7089-B5EB-4184-AD13-7A32139DB9A2}"/>
                </a:ext>
              </a:extLst>
            </p:cNvPr>
            <p:cNvSpPr/>
            <p:nvPr/>
          </p:nvSpPr>
          <p:spPr>
            <a:xfrm>
              <a:off x="6445232" y="4115443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4">
                    <a:lumMod val="50000"/>
                  </a:schemeClr>
                </a:gs>
                <a:gs pos="0">
                  <a:schemeClr val="accent4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xmlns="" id="{03D0CE8D-BAC6-4F87-B09E-FF0BC6EFC4B2}"/>
                </a:ext>
              </a:extLst>
            </p:cNvPr>
            <p:cNvSpPr/>
            <p:nvPr/>
          </p:nvSpPr>
          <p:spPr>
            <a:xfrm>
              <a:off x="6411236" y="4119452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xmlns="" id="{BEACE67A-8BBC-44AE-870D-A572892346BF}"/>
                </a:ext>
              </a:extLst>
            </p:cNvPr>
            <p:cNvSpPr/>
            <p:nvPr/>
          </p:nvSpPr>
          <p:spPr>
            <a:xfrm>
              <a:off x="5862737" y="526330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5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xmlns="" id="{193FF1BD-1129-4119-89C0-B4FC9880457A}"/>
                </a:ext>
              </a:extLst>
            </p:cNvPr>
            <p:cNvSpPr/>
            <p:nvPr/>
          </p:nvSpPr>
          <p:spPr>
            <a:xfrm>
              <a:off x="5828740" y="5267318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xmlns="" id="{A47C726C-C758-4830-8196-F3C172A0042D}"/>
                </a:ext>
              </a:extLst>
            </p:cNvPr>
            <p:cNvSpPr/>
            <p:nvPr/>
          </p:nvSpPr>
          <p:spPr>
            <a:xfrm>
              <a:off x="4978584" y="6101820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6">
                    <a:lumMod val="50000"/>
                  </a:schemeClr>
                </a:gs>
                <a:gs pos="0">
                  <a:schemeClr val="accent6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F2515785-3B62-4A8C-B2FE-4ADD41EAACDE}"/>
                </a:ext>
              </a:extLst>
            </p:cNvPr>
            <p:cNvSpPr/>
            <p:nvPr/>
          </p:nvSpPr>
          <p:spPr>
            <a:xfrm>
              <a:off x="4944588" y="610582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xmlns="" id="{4374B6A8-C08C-40DE-B09B-7221F45C3934}"/>
                </a:ext>
              </a:extLst>
            </p:cNvPr>
            <p:cNvSpPr txBox="1"/>
            <p:nvPr/>
          </p:nvSpPr>
          <p:spPr>
            <a:xfrm>
              <a:off x="4988695" y="131418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  <a:endParaRPr lang="en-US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A8AB9817-D24F-4415-98B2-21D9A3F44C8A}"/>
                </a:ext>
              </a:extLst>
            </p:cNvPr>
            <p:cNvSpPr txBox="1"/>
            <p:nvPr/>
          </p:nvSpPr>
          <p:spPr>
            <a:xfrm>
              <a:off x="5906844" y="2189926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  <a:endParaRPr lang="en-US" sz="105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xmlns="" id="{895218F6-0814-46CC-8079-D99B91C3AF93}"/>
                </a:ext>
              </a:extLst>
            </p:cNvPr>
            <p:cNvSpPr txBox="1"/>
            <p:nvPr/>
          </p:nvSpPr>
          <p:spPr>
            <a:xfrm>
              <a:off x="6489340" y="324802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  <a:endParaRPr lang="en-US" sz="105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xmlns="" id="{E44BD376-3F01-4A10-8459-1C1F8CB3D792}"/>
                </a:ext>
              </a:extLst>
            </p:cNvPr>
            <p:cNvSpPr txBox="1"/>
            <p:nvPr/>
          </p:nvSpPr>
          <p:spPr>
            <a:xfrm>
              <a:off x="6489340" y="425624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  <a:endParaRPr lang="en-US" sz="10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E94F21A5-02D6-4355-8E3F-D4FDFE2B3366}"/>
                </a:ext>
              </a:extLst>
            </p:cNvPr>
            <p:cNvSpPr txBox="1"/>
            <p:nvPr/>
          </p:nvSpPr>
          <p:spPr>
            <a:xfrm>
              <a:off x="5906844" y="5404104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  <a:endParaRPr lang="en-US" sz="105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xmlns="" id="{6A293353-30D8-4066-BBEF-6DD582DB576D}"/>
                </a:ext>
              </a:extLst>
            </p:cNvPr>
            <p:cNvSpPr txBox="1"/>
            <p:nvPr/>
          </p:nvSpPr>
          <p:spPr>
            <a:xfrm>
              <a:off x="5022691" y="624261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  <a:endParaRPr lang="en-US" sz="105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F38931FA-B580-4500-BDAF-EDE358CE47D8}"/>
                </a:ext>
              </a:extLst>
            </p:cNvPr>
            <p:cNvSpPr txBox="1"/>
            <p:nvPr/>
          </p:nvSpPr>
          <p:spPr>
            <a:xfrm>
              <a:off x="7073180" y="3256408"/>
              <a:ext cx="1977362" cy="354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 is simply dummy text of the printing and typesetting industry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46BDF46F-A072-4BAE-B0DB-E2BAD6A27EB3}"/>
                </a:ext>
              </a:extLst>
            </p:cNvPr>
            <p:cNvSpPr txBox="1"/>
            <p:nvPr/>
          </p:nvSpPr>
          <p:spPr>
            <a:xfrm>
              <a:off x="7087151" y="4264622"/>
              <a:ext cx="1977362" cy="354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 is simply dummy text of the printing and typesetting industry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xmlns="" id="{FFF2B45A-A434-4BC1-9B17-FDC7C3C94E13}"/>
                </a:ext>
              </a:extLst>
            </p:cNvPr>
            <p:cNvSpPr txBox="1"/>
            <p:nvPr/>
          </p:nvSpPr>
          <p:spPr>
            <a:xfrm>
              <a:off x="6530313" y="5412488"/>
              <a:ext cx="1977362" cy="354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 is simply dummy text of the printing and typesetting industry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xmlns="" id="{4EB0EE06-54C3-4E49-8EF2-615F3A219459}"/>
                </a:ext>
              </a:extLst>
            </p:cNvPr>
            <p:cNvSpPr txBox="1"/>
            <p:nvPr/>
          </p:nvSpPr>
          <p:spPr>
            <a:xfrm>
              <a:off x="5652624" y="6251000"/>
              <a:ext cx="1977362" cy="354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rem Ipsum is simply dummy text of the printing and typesetting industry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BA2A9EA6-2CA6-4414-AF8E-855B3C73245E}"/>
                </a:ext>
              </a:extLst>
            </p:cNvPr>
            <p:cNvSpPr txBox="1"/>
            <p:nvPr/>
          </p:nvSpPr>
          <p:spPr>
            <a:xfrm>
              <a:off x="2952752" y="3321656"/>
              <a:ext cx="2226297" cy="5451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endParaRPr lang="en-US" sz="2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Rectangle 74"/>
          <p:cNvSpPr/>
          <p:nvPr/>
        </p:nvSpPr>
        <p:spPr>
          <a:xfrm>
            <a:off x="4343400" y="228600"/>
            <a:ext cx="27432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can </a:t>
            </a:r>
            <a:r>
              <a:rPr lang="en-US" sz="2000" dirty="0" smtClean="0"/>
              <a:t>draw</a:t>
            </a:r>
            <a:r>
              <a:rPr lang="en-US" dirty="0" smtClean="0"/>
              <a:t> any sketch and any size.</a:t>
            </a:r>
            <a:endParaRPr lang="en-US" dirty="0"/>
          </a:p>
        </p:txBody>
      </p:sp>
      <p:sp>
        <p:nvSpPr>
          <p:cNvPr id="83" name="Rectangle 82"/>
          <p:cNvSpPr/>
          <p:nvPr/>
        </p:nvSpPr>
        <p:spPr>
          <a:xfrm>
            <a:off x="5486400" y="1295400"/>
            <a:ext cx="2514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use for multipurpose</a:t>
            </a:r>
            <a:endParaRPr lang="en-US" sz="2000" b="1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28600" y="3810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1459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9511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4" imgW="360" imgH="360" progId="">
              <p:embed/>
            </p:oleObj>
          </a:graphicData>
        </a:graphic>
      </p:graphicFrame>
      <p:sp>
        <p:nvSpPr>
          <p:cNvPr id="50" name="Title 46"/>
          <p:cNvSpPr txBox="1">
            <a:spLocks/>
          </p:cNvSpPr>
          <p:nvPr/>
        </p:nvSpPr>
        <p:spPr>
          <a:xfrm>
            <a:off x="228600" y="122238"/>
            <a:ext cx="6705600" cy="868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e Agenda with Four Pointed Text Circle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3039524" y="4669973"/>
            <a:ext cx="2309011" cy="1836877"/>
          </a:xfrm>
          <a:prstGeom prst="ellipse">
            <a:avLst/>
          </a:prstGeom>
          <a:solidFill>
            <a:schemeClr val="bg1">
              <a:lumMod val="75000"/>
              <a:alpha val="18000"/>
            </a:schemeClr>
          </a:solidFill>
          <a:ln w="139700"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  <a:softEdge rad="127000"/>
          </a:effectLst>
          <a:scene3d>
            <a:camera prst="perspectiveFront" fov="2700000">
              <a:rot lat="19924472" lon="2371624" rev="19033905"/>
            </a:camera>
            <a:lightRig rig="flood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>
              <a:ln w="19050">
                <a:noFill/>
                <a:prstDash val="solid"/>
              </a:ln>
              <a:solidFill>
                <a:srgbClr val="182848"/>
              </a:solidFill>
              <a:latin typeface="Impact" pitchFamily="34" charset="0"/>
            </a:endParaRPr>
          </a:p>
        </p:txBody>
      </p:sp>
      <p:grpSp>
        <p:nvGrpSpPr>
          <p:cNvPr id="2" name="Group 9"/>
          <p:cNvGrpSpPr/>
          <p:nvPr/>
        </p:nvGrpSpPr>
        <p:grpSpPr>
          <a:xfrm>
            <a:off x="5484128" y="4049341"/>
            <a:ext cx="2644807" cy="2355526"/>
            <a:chOff x="5484128" y="4049341"/>
            <a:chExt cx="2644807" cy="2355526"/>
          </a:xfrm>
        </p:grpSpPr>
        <p:sp>
          <p:nvSpPr>
            <p:cNvPr id="21" name="Oval Callout 20"/>
            <p:cNvSpPr/>
            <p:nvPr/>
          </p:nvSpPr>
          <p:spPr>
            <a:xfrm rot="16200000" flipV="1">
              <a:off x="5861976" y="3894367"/>
              <a:ext cx="1968228" cy="2278176"/>
            </a:xfrm>
            <a:prstGeom prst="wedgeEllipseCallout">
              <a:avLst>
                <a:gd name="adj1" fmla="val -1048"/>
                <a:gd name="adj2" fmla="val 84816"/>
              </a:avLst>
            </a:prstGeom>
            <a:gradFill flip="none" rotWithShape="1">
              <a:gsLst>
                <a:gs pos="78000">
                  <a:srgbClr val="D9A803"/>
                </a:gs>
                <a:gs pos="0">
                  <a:srgbClr val="FFE101"/>
                </a:gs>
                <a:gs pos="100000">
                  <a:schemeClr val="accent6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8400000" algn="tr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6" name="Chord 45"/>
            <p:cNvSpPr/>
            <p:nvPr/>
          </p:nvSpPr>
          <p:spPr>
            <a:xfrm rot="16031008">
              <a:off x="5982206" y="401489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grpSp>
          <p:nvGrpSpPr>
            <p:cNvPr id="4" name="Group 5"/>
            <p:cNvGrpSpPr/>
            <p:nvPr/>
          </p:nvGrpSpPr>
          <p:grpSpPr>
            <a:xfrm>
              <a:off x="5484128" y="4350955"/>
              <a:ext cx="2644807" cy="2053912"/>
              <a:chOff x="6000639" y="3344563"/>
              <a:chExt cx="3266479" cy="2536692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6493132" y="3344563"/>
                <a:ext cx="2267148" cy="39857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 smtClean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4</a:t>
                </a:r>
                <a:endPara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000639" y="3676555"/>
                <a:ext cx="3266479" cy="2204700"/>
              </a:xfrm>
              <a:prstGeom prst="rect">
                <a:avLst/>
              </a:prstGeom>
              <a:noFill/>
              <a:effectLst/>
            </p:spPr>
            <p:txBody>
              <a:bodyPr wrap="square" rtlCol="0" anchor="ctr">
                <a:spAutoFit/>
              </a:bodyPr>
              <a:lstStyle/>
              <a:p>
                <a:pPr marL="400050" fontAlgn="b">
                  <a:tabLst>
                    <a:tab pos="514350" algn="l"/>
                  </a:tabLst>
                </a:pP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Put the detail about your 4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th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quality here. Put detail for the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4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th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quality here. Put the detail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for the 4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th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quality here. Put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the quality details here. Put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detail here. Put the </a:t>
                </a:r>
              </a:p>
              <a:p>
                <a:pPr marL="400050" fontAlgn="b">
                  <a:tabLst>
                    <a:tab pos="514350" algn="l"/>
                  </a:tabLst>
                </a:pP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         details here…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endPara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5" name="Group 6"/>
          <p:cNvGrpSpPr/>
          <p:nvPr/>
        </p:nvGrpSpPr>
        <p:grpSpPr>
          <a:xfrm>
            <a:off x="533400" y="1066799"/>
            <a:ext cx="2644807" cy="1968229"/>
            <a:chOff x="533400" y="1066799"/>
            <a:chExt cx="2644807" cy="1968229"/>
          </a:xfrm>
        </p:grpSpPr>
        <p:grpSp>
          <p:nvGrpSpPr>
            <p:cNvPr id="6" name="Group 3"/>
            <p:cNvGrpSpPr/>
            <p:nvPr/>
          </p:nvGrpSpPr>
          <p:grpSpPr>
            <a:xfrm>
              <a:off x="780736" y="1066799"/>
              <a:ext cx="2260168" cy="1968229"/>
              <a:chOff x="780736" y="1066799"/>
              <a:chExt cx="2260168" cy="1968229"/>
            </a:xfrm>
          </p:grpSpPr>
          <p:sp>
            <p:nvSpPr>
              <p:cNvPr id="3" name="Oval Callout 2"/>
              <p:cNvSpPr/>
              <p:nvPr/>
            </p:nvSpPr>
            <p:spPr>
              <a:xfrm rot="5400000" flipH="1" flipV="1">
                <a:off x="926705" y="920830"/>
                <a:ext cx="1968229" cy="2260168"/>
              </a:xfrm>
              <a:prstGeom prst="wedgeEllipseCallout">
                <a:avLst>
                  <a:gd name="adj1" fmla="val -123073"/>
                  <a:gd name="adj2" fmla="val 98445"/>
                </a:avLst>
              </a:prstGeom>
              <a:gradFill flip="none" rotWithShape="1">
                <a:gsLst>
                  <a:gs pos="83000">
                    <a:srgbClr val="5A930E"/>
                  </a:gs>
                  <a:gs pos="0">
                    <a:srgbClr val="9BED17"/>
                  </a:gs>
                  <a:gs pos="100000">
                    <a:srgbClr val="305808"/>
                  </a:gs>
                </a:gsLst>
                <a:lin ang="10800000" scaled="1"/>
                <a:tileRect/>
              </a:gradFill>
              <a:ln>
                <a:noFill/>
              </a:ln>
              <a:effectLst>
                <a:outerShdw blurRad="50800" dist="635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sp>
            <p:nvSpPr>
              <p:cNvPr id="40" name="Chord 39"/>
              <p:cNvSpPr/>
              <p:nvPr/>
            </p:nvSpPr>
            <p:spPr>
              <a:xfrm rot="16031008">
                <a:off x="1034478" y="1024651"/>
                <a:ext cx="1769775" cy="2047116"/>
              </a:xfrm>
              <a:prstGeom prst="chord">
                <a:avLst>
                  <a:gd name="adj1" fmla="val 16260661"/>
                  <a:gd name="adj2" fmla="val 16200000"/>
                </a:avLst>
              </a:prstGeom>
              <a:gradFill>
                <a:gsLst>
                  <a:gs pos="83000">
                    <a:schemeClr val="bg1">
                      <a:alpha val="52000"/>
                    </a:schemeClr>
                  </a:gs>
                  <a:gs pos="0">
                    <a:schemeClr val="bg1"/>
                  </a:gs>
                  <a:gs pos="100000">
                    <a:schemeClr val="bg1">
                      <a:alpha val="31000"/>
                    </a:schemeClr>
                  </a:gs>
                </a:gsLst>
                <a:lin ang="10800000" scaled="1"/>
              </a:gradFill>
              <a:ln w="19050">
                <a:solidFill>
                  <a:schemeClr val="bg1">
                    <a:alpha val="49000"/>
                  </a:schemeClr>
                </a:solidFill>
              </a:ln>
              <a:effectLst>
                <a:innerShdw blurRad="114300">
                  <a:prstClr val="black">
                    <a:alpha val="32000"/>
                  </a:prstClr>
                </a:innerShdw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917360" y="1335435"/>
                <a:ext cx="1650839" cy="32271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algn="ctr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 smtClean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1</a:t>
                </a:r>
                <a:endPara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533400" y="1630462"/>
              <a:ext cx="2644807" cy="600164"/>
            </a:xfrm>
            <a:prstGeom prst="rect">
              <a:avLst/>
            </a:prstGeom>
            <a:noFill/>
            <a:effectLst/>
          </p:spPr>
          <p:txBody>
            <a:bodyPr wrap="square" rtlCol="0" anchor="ctr">
              <a:spAutoFit/>
            </a:bodyPr>
            <a:lstStyle/>
            <a:p>
              <a:pPr marL="400050" fontAlgn="b">
                <a:tabLst>
                  <a:tab pos="514350" algn="l"/>
                </a:tabLst>
              </a:pP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endPara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279400" dist="50800" dir="5400000" sx="97000" sy="97000" algn="t" rotWithShape="0">
                    <a:schemeClr val="bg2">
                      <a:lumMod val="10000"/>
                      <a:alpha val="26000"/>
                    </a:schemeClr>
                  </a:outerShdw>
                </a:effectLst>
                <a:ea typeface="Kozuka Gothic Pro M" pitchFamily="34" charset="-128"/>
                <a:cs typeface="Arial" pitchFamily="34" charset="0"/>
              </a:endParaRPr>
            </a:p>
          </p:txBody>
        </p:sp>
      </p:grpSp>
      <p:grpSp>
        <p:nvGrpSpPr>
          <p:cNvPr id="7" name="Group 8"/>
          <p:cNvGrpSpPr/>
          <p:nvPr/>
        </p:nvGrpSpPr>
        <p:grpSpPr>
          <a:xfrm>
            <a:off x="5215258" y="1990714"/>
            <a:ext cx="2644807" cy="1968228"/>
            <a:chOff x="5215258" y="1990714"/>
            <a:chExt cx="2644807" cy="1968228"/>
          </a:xfrm>
        </p:grpSpPr>
        <p:sp>
          <p:nvSpPr>
            <p:cNvPr id="38" name="Oval Callout 37"/>
            <p:cNvSpPr/>
            <p:nvPr/>
          </p:nvSpPr>
          <p:spPr>
            <a:xfrm rot="16200000" flipV="1">
              <a:off x="5596191" y="1835740"/>
              <a:ext cx="1968228" cy="2278176"/>
            </a:xfrm>
            <a:prstGeom prst="wedgeEllipseCallout">
              <a:avLst>
                <a:gd name="adj1" fmla="val -93224"/>
                <a:gd name="adj2" fmla="val 77723"/>
              </a:avLst>
            </a:prstGeom>
            <a:gradFill flip="none" rotWithShape="1">
              <a:gsLst>
                <a:gs pos="81000">
                  <a:srgbClr val="0E618F"/>
                </a:gs>
                <a:gs pos="0">
                  <a:srgbClr val="00B0F0"/>
                </a:gs>
                <a:gs pos="100000">
                  <a:srgbClr val="182848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6000000" algn="t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4" name="Chord 43"/>
            <p:cNvSpPr/>
            <p:nvPr/>
          </p:nvSpPr>
          <p:spPr>
            <a:xfrm rot="16031008">
              <a:off x="5703661" y="194527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grpSp>
          <p:nvGrpSpPr>
            <p:cNvPr id="8" name="Group 4"/>
            <p:cNvGrpSpPr/>
            <p:nvPr/>
          </p:nvGrpSpPr>
          <p:grpSpPr>
            <a:xfrm>
              <a:off x="5215258" y="2276206"/>
              <a:ext cx="2644807" cy="1558673"/>
              <a:chOff x="4626755" y="1154517"/>
              <a:chExt cx="3266479" cy="1925044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5093393" y="1154517"/>
                <a:ext cx="2772228" cy="39857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 smtClean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3</a:t>
                </a:r>
                <a:endPara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4626755" y="1502062"/>
                <a:ext cx="3266479" cy="1577499"/>
              </a:xfrm>
              <a:prstGeom prst="rect">
                <a:avLst/>
              </a:prstGeom>
              <a:noFill/>
              <a:effectLst/>
            </p:spPr>
            <p:txBody>
              <a:bodyPr wrap="square" rtlCol="0" anchor="t">
                <a:spAutoFit/>
              </a:bodyPr>
              <a:lstStyle/>
              <a:p>
                <a:pPr marL="400050" fontAlgn="b">
                  <a:tabLst>
                    <a:tab pos="514350" algn="l"/>
                  </a:tabLst>
                </a:pP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Put the detail about your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3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r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detail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for the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3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r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the detail 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for the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3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r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the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quality details here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. Put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detail here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. Put the </a:t>
                </a:r>
              </a:p>
              <a:p>
                <a:pPr marL="400050" fontAlgn="b">
                  <a:tabLst>
                    <a:tab pos="514350" algn="l"/>
                  </a:tabLst>
                </a:pP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         details here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…</a:t>
                </a:r>
                <a:endPara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9" name="Group 7"/>
          <p:cNvGrpSpPr/>
          <p:nvPr/>
        </p:nvGrpSpPr>
        <p:grpSpPr>
          <a:xfrm>
            <a:off x="2955898" y="1164768"/>
            <a:ext cx="2644807" cy="2330098"/>
            <a:chOff x="2955898" y="1164768"/>
            <a:chExt cx="2644807" cy="2330098"/>
          </a:xfrm>
        </p:grpSpPr>
        <p:sp>
          <p:nvSpPr>
            <p:cNvPr id="39" name="Oval Callout 38"/>
            <p:cNvSpPr/>
            <p:nvPr/>
          </p:nvSpPr>
          <p:spPr>
            <a:xfrm rot="5400000" flipH="1" flipV="1">
              <a:off x="3339818" y="1009794"/>
              <a:ext cx="1968228" cy="2278176"/>
            </a:xfrm>
            <a:prstGeom prst="wedgeEllipseCallout">
              <a:avLst>
                <a:gd name="adj1" fmla="val -123311"/>
                <a:gd name="adj2" fmla="val 9412"/>
              </a:avLst>
            </a:prstGeom>
            <a:gradFill flip="none" rotWithShape="1">
              <a:gsLst>
                <a:gs pos="81000">
                  <a:srgbClr val="910808"/>
                </a:gs>
                <a:gs pos="0">
                  <a:srgbClr val="ED1111"/>
                </a:gs>
                <a:gs pos="100000">
                  <a:srgbClr val="3E0000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5400000" algn="t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2" name="Chord 41"/>
            <p:cNvSpPr/>
            <p:nvPr/>
          </p:nvSpPr>
          <p:spPr>
            <a:xfrm rot="16031008">
              <a:off x="3450771" y="1116376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grpSp>
          <p:nvGrpSpPr>
            <p:cNvPr id="10" name="Group 1"/>
            <p:cNvGrpSpPr/>
            <p:nvPr/>
          </p:nvGrpSpPr>
          <p:grpSpPr>
            <a:xfrm>
              <a:off x="2955898" y="1446381"/>
              <a:ext cx="2644807" cy="2048485"/>
              <a:chOff x="1698440" y="1033608"/>
              <a:chExt cx="3266479" cy="252998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2146151" y="1033608"/>
                <a:ext cx="2267148" cy="39857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 smtClean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2</a:t>
                </a:r>
                <a:endPara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1698440" y="1358898"/>
                <a:ext cx="3266479" cy="2204699"/>
              </a:xfrm>
              <a:prstGeom prst="rect">
                <a:avLst/>
              </a:prstGeom>
              <a:noFill/>
              <a:effectLst/>
            </p:spPr>
            <p:txBody>
              <a:bodyPr wrap="square" rtlCol="0" anchor="ctr">
                <a:spAutoFit/>
              </a:bodyPr>
              <a:lstStyle/>
              <a:p>
                <a:pPr marL="400050" fontAlgn="b">
                  <a:tabLst>
                    <a:tab pos="514350" algn="l"/>
                  </a:tabLst>
                </a:pPr>
                <a:r>
                  <a:rPr lang="en-US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Put the detail about your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2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n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</a:t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detail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for the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2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n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the detail 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for the 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2</a:t>
                </a:r>
                <a:r>
                  <a:rPr lang="en-US" sz="1100" baseline="300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nd</a:t>
                </a:r>
                <a:r>
                  <a:rPr lang="en-US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quality </a:t>
                </a: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here. Put 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the detail for here. Put the   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 detail for here. Put the </a:t>
                </a:r>
              </a:p>
              <a:p>
                <a:pPr marL="400050" fontAlgn="b">
                  <a:tabLst>
                    <a:tab pos="514350" algn="l"/>
                  </a:tabLst>
                </a:pP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>                 details here…</a:t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  <a:t/>
                </a:r>
                <a:br>
                  <a:rPr lang="en-US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279400" dist="50800" dir="5400000" sx="97000" sy="97000" algn="t" rotWithShape="0">
                        <a:schemeClr val="bg2">
                          <a:lumMod val="10000"/>
                          <a:alpha val="26000"/>
                        </a:schemeClr>
                      </a:outerShdw>
                    </a:effectLst>
                    <a:ea typeface="Kozuka Gothic Pro M" pitchFamily="34" charset="-128"/>
                    <a:cs typeface="Arial" pitchFamily="34" charset="0"/>
                  </a:rPr>
                </a:br>
                <a:endPara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endParaRPr>
              </a:p>
            </p:txBody>
          </p:sp>
        </p:grpSp>
      </p:grpSp>
      <p:grpSp>
        <p:nvGrpSpPr>
          <p:cNvPr id="11" name="Group 31"/>
          <p:cNvGrpSpPr/>
          <p:nvPr/>
        </p:nvGrpSpPr>
        <p:grpSpPr>
          <a:xfrm>
            <a:off x="2425700" y="1652103"/>
            <a:ext cx="4267200" cy="5053497"/>
            <a:chOff x="2425700" y="2222500"/>
            <a:chExt cx="4267200" cy="5053497"/>
          </a:xfrm>
        </p:grpSpPr>
        <p:sp>
          <p:nvSpPr>
            <p:cNvPr id="33" name="Oval 32"/>
            <p:cNvSpPr/>
            <p:nvPr/>
          </p:nvSpPr>
          <p:spPr>
            <a:xfrm>
              <a:off x="2425700" y="2222500"/>
              <a:ext cx="4267200" cy="505349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2514600" y="4495799"/>
              <a:ext cx="2743200" cy="2170597"/>
            </a:xfrm>
            <a:prstGeom prst="ellipse">
              <a:avLst/>
            </a:prstGeom>
            <a:solidFill>
              <a:srgbClr val="47CFFF"/>
            </a:solidFill>
            <a:ln w="139700">
              <a:gradFill flip="none" rotWithShape="1">
                <a:gsLst>
                  <a:gs pos="0">
                    <a:srgbClr val="00B0F0"/>
                  </a:gs>
                  <a:gs pos="85000">
                    <a:srgbClr val="0E6193"/>
                  </a:gs>
                  <a:gs pos="100000">
                    <a:srgbClr val="0070C0"/>
                  </a:gs>
                </a:gsLst>
                <a:lin ang="16200000" scaled="1"/>
                <a:tileRect/>
              </a:gradFill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matte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2794000" y="4686300"/>
              <a:ext cx="2200604" cy="1750636"/>
            </a:xfrm>
            <a:prstGeom prst="ellipse">
              <a:avLst/>
            </a:prstGeom>
            <a:gradFill>
              <a:gsLst>
                <a:gs pos="1000">
                  <a:srgbClr val="EF2525">
                    <a:alpha val="0"/>
                  </a:srgbClr>
                </a:gs>
                <a:gs pos="29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6200000" scaled="1"/>
            </a:gradFill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2511096" y="5066197"/>
              <a:ext cx="2518104" cy="1152292"/>
            </a:xfrm>
            <a:prstGeom prst="ellipse">
              <a:avLst/>
            </a:prstGeom>
            <a:noFill/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plastic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>
                <a:bevelT w="0" h="0"/>
                <a:extrusionClr>
                  <a:schemeClr val="bg1"/>
                </a:extrusionClr>
                <a:contourClr>
                  <a:srgbClr val="FFFF00"/>
                </a:contourClr>
              </a:sp3d>
            </a:bodyPr>
            <a:lstStyle/>
            <a:p>
              <a:pPr algn="ctr"/>
              <a:r>
                <a:rPr lang="en-GB" sz="3200" b="1" dirty="0" smtClean="0">
                  <a:ln w="19050">
                    <a:noFill/>
                    <a:prstDash val="solid"/>
                  </a:ln>
                  <a:solidFill>
                    <a:srgbClr val="002060"/>
                  </a:solidFill>
                  <a:effectLst>
                    <a:outerShdw blurRad="50800" dist="38100" dir="16200000" rotWithShape="0">
                      <a:prstClr val="black">
                        <a:alpha val="40000"/>
                      </a:prstClr>
                    </a:outerShdw>
                  </a:effectLst>
                  <a:latin typeface="Impact" pitchFamily="34" charset="0"/>
                </a:rPr>
                <a:t>objective</a:t>
              </a:r>
              <a:endParaRPr lang="en-GB" sz="3200" b="1" dirty="0">
                <a:ln w="19050">
                  <a:noFill/>
                  <a:prstDash val="solid"/>
                </a:ln>
                <a:solidFill>
                  <a:srgbClr val="002060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Impact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8067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372010D-AC67-44D3-8BB8-E9D89655F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55795"/>
            <a:ext cx="7886700" cy="1325563"/>
          </a:xfrm>
        </p:spPr>
        <p:txBody>
          <a:bodyPr>
            <a:normAutofit/>
          </a:bodyPr>
          <a:lstStyle/>
          <a:p>
            <a:r>
              <a:rPr lang="en-US" sz="3100" dirty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IN" sz="3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1EB477D8-1451-4C06-8610-7F117DC60B68}"/>
              </a:ext>
            </a:extLst>
          </p:cNvPr>
          <p:cNvCxnSpPr>
            <a:cxnSpLocks/>
          </p:cNvCxnSpPr>
          <p:nvPr/>
        </p:nvCxnSpPr>
        <p:spPr>
          <a:xfrm>
            <a:off x="304800" y="1436914"/>
            <a:ext cx="8652588" cy="1088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Diagram 2">
            <a:extLst>
              <a:ext uri="{FF2B5EF4-FFF2-40B4-BE49-F238E27FC236}">
                <a16:creationId xmlns="" xmlns:a16="http://schemas.microsoft.com/office/drawing/2014/main" id="{EA70C450-CA77-4F24-88FA-87B7B76A3E29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354982101"/>
              </p:ext>
            </p:extLst>
          </p:nvPr>
        </p:nvGraphicFramePr>
        <p:xfrm>
          <a:off x="1524000" y="1828800"/>
          <a:ext cx="6477000" cy="4413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7687596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>
        <p:push dir="r"/>
      </p:transition>
    </mc:Choice>
    <mc:Fallback>
      <p:transition>
        <p:push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agnifying Glass (Available in 100mm, 90mm, 75mm, 63mm sizes), Aesthetic  Magnifier, Glass Magnifier, आवर्धक कांच - UNITED PAPER AND STATIONERS,  Hyderabad | ID: 21016682133"/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lum/>
          </a:blip>
          <a:srcRect l="2508" r="2508"/>
          <a:stretch>
            <a:fillRect/>
          </a:stretch>
        </p:blipFill>
        <p:spPr bwMode="auto">
          <a:xfrm rot="1814390">
            <a:off x="1809576" y="-282461"/>
            <a:ext cx="7249029" cy="7631865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3276600" y="14478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 tech robotic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0" y="457200"/>
            <a:ext cx="381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ference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XY_img_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762000" y="0"/>
            <a:ext cx="7772400" cy="1143000"/>
          </a:xfrm>
        </p:spPr>
        <p:txBody>
          <a:bodyPr/>
          <a:lstStyle/>
          <a:p>
            <a:r>
              <a:rPr lang="en-US" dirty="0" smtClean="0"/>
              <a:t>Actual project photo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91522"/>
            <a:ext cx="6629400" cy="1280890"/>
          </a:xfrm>
        </p:spPr>
        <p:txBody>
          <a:bodyPr>
            <a:normAutofit/>
          </a:bodyPr>
          <a:lstStyle/>
          <a:p>
            <a:r>
              <a:rPr lang="en-US" sz="2400" dirty="0"/>
              <a:t>All components :</a:t>
            </a:r>
            <a:endParaRPr lang="en-IN" sz="2800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=""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35714715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5700">
                  <a:extLst>
                    <a:ext uri="{9D8B030D-6E8A-4147-A177-3AD203B41FA5}">
                      <a16:colId xmlns="" xmlns:a16="http://schemas.microsoft.com/office/drawing/2014/main" val="2425828943"/>
                    </a:ext>
                  </a:extLst>
                </a:gridCol>
                <a:gridCol w="3695700">
                  <a:extLst>
                    <a:ext uri="{9D8B030D-6E8A-4147-A177-3AD203B41FA5}">
                      <a16:colId xmlns=""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Arduino Board UNO R3</a:t>
                      </a:r>
                      <a:endParaRPr lang="en-IN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u="sng" dirty="0"/>
                        <a:t>17 stepper motor</a:t>
                      </a:r>
                      <a:endParaRPr lang="en-IN" sz="1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400" u="sng" dirty="0"/>
                        <a:t>Servo motor MG90S</a:t>
                      </a:r>
                      <a:endParaRPr lang="en-IN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u="sng" dirty="0"/>
                        <a:t>Motor Driver IC L293D</a:t>
                      </a:r>
                      <a:endParaRPr lang="en-IN" sz="15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0D08FBC8-93C3-453D-9BC7-23FB78C78E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67" t="30518" r="21667" b="11111"/>
          <a:stretch/>
        </p:blipFill>
        <p:spPr>
          <a:xfrm>
            <a:off x="838200" y="1966690"/>
            <a:ext cx="3347405" cy="17017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EB29468C-8230-48DF-82C8-4CD32BFE1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8437" y="1872804"/>
            <a:ext cx="3348833" cy="1860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774A49F9-7C22-45B1-BD59-6E921743638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3333" r="32500" b="14462"/>
          <a:stretch/>
        </p:blipFill>
        <p:spPr>
          <a:xfrm>
            <a:off x="5181600" y="4274138"/>
            <a:ext cx="1878928" cy="2116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77CD1C2B-322B-43E0-9D2E-D2AE4A67E5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8540" y="4364914"/>
            <a:ext cx="2216660" cy="210156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6985592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>
        <p:push dir="r"/>
      </p:transition>
    </mc:Choice>
    <mc:Fallback>
      <p:transition>
        <p:push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86</Words>
  <Application>Microsoft Office PowerPoint</Application>
  <PresentationFormat>On-screen Show (4:3)</PresentationFormat>
  <Paragraphs>83</Paragraphs>
  <Slides>1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Slide 1</vt:lpstr>
      <vt:lpstr>Slide 2</vt:lpstr>
      <vt:lpstr>INTRODUCTION OF ROBOT</vt:lpstr>
      <vt:lpstr>Slide 4</vt:lpstr>
      <vt:lpstr>Slide 5</vt:lpstr>
      <vt:lpstr>POSSIBLE OUTCOMES</vt:lpstr>
      <vt:lpstr>Slide 7</vt:lpstr>
      <vt:lpstr>Actual project photo</vt:lpstr>
      <vt:lpstr>All components :</vt:lpstr>
      <vt:lpstr>All Components</vt:lpstr>
      <vt:lpstr>Slide 11</vt:lpstr>
      <vt:lpstr>Bill of material</vt:lpstr>
      <vt:lpstr>Slide 13</vt:lpstr>
      <vt:lpstr>Collected hardwares</vt:lpstr>
      <vt:lpstr>Slide 15</vt:lpstr>
      <vt:lpstr>Slide 16</vt:lpstr>
      <vt:lpstr>Slide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udent.2</dc:creator>
  <cp:lastModifiedBy>student.2</cp:lastModifiedBy>
  <cp:revision>4</cp:revision>
  <dcterms:created xsi:type="dcterms:W3CDTF">2021-11-17T10:38:32Z</dcterms:created>
  <dcterms:modified xsi:type="dcterms:W3CDTF">2021-11-17T11:06:54Z</dcterms:modified>
</cp:coreProperties>
</file>